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1"/>
  </p:notesMasterIdLst>
  <p:sldIdLst>
    <p:sldId id="344" r:id="rId2"/>
    <p:sldId id="349" r:id="rId3"/>
    <p:sldId id="410" r:id="rId4"/>
    <p:sldId id="411" r:id="rId5"/>
    <p:sldId id="414" r:id="rId6"/>
    <p:sldId id="416" r:id="rId7"/>
    <p:sldId id="417" r:id="rId8"/>
    <p:sldId id="418" r:id="rId9"/>
    <p:sldId id="419" r:id="rId10"/>
    <p:sldId id="462" r:id="rId11"/>
    <p:sldId id="463" r:id="rId12"/>
    <p:sldId id="359" r:id="rId13"/>
    <p:sldId id="420" r:id="rId14"/>
    <p:sldId id="421" r:id="rId15"/>
    <p:sldId id="422" r:id="rId16"/>
    <p:sldId id="423" r:id="rId17"/>
    <p:sldId id="424" r:id="rId18"/>
    <p:sldId id="425" r:id="rId19"/>
    <p:sldId id="426" r:id="rId20"/>
    <p:sldId id="437" r:id="rId21"/>
    <p:sldId id="438" r:id="rId22"/>
    <p:sldId id="428" r:id="rId23"/>
    <p:sldId id="429" r:id="rId24"/>
    <p:sldId id="430" r:id="rId25"/>
    <p:sldId id="432" r:id="rId26"/>
    <p:sldId id="433" r:id="rId27"/>
    <p:sldId id="434" r:id="rId28"/>
    <p:sldId id="435" r:id="rId29"/>
    <p:sldId id="436" r:id="rId30"/>
    <p:sldId id="375" r:id="rId31"/>
    <p:sldId id="439" r:id="rId32"/>
    <p:sldId id="445" r:id="rId33"/>
    <p:sldId id="446" r:id="rId34"/>
    <p:sldId id="447" r:id="rId35"/>
    <p:sldId id="448" r:id="rId36"/>
    <p:sldId id="449" r:id="rId37"/>
    <p:sldId id="450" r:id="rId38"/>
    <p:sldId id="451" r:id="rId39"/>
    <p:sldId id="452" r:id="rId40"/>
    <p:sldId id="453" r:id="rId41"/>
    <p:sldId id="454" r:id="rId42"/>
    <p:sldId id="455" r:id="rId43"/>
    <p:sldId id="456" r:id="rId44"/>
    <p:sldId id="457" r:id="rId45"/>
    <p:sldId id="458" r:id="rId46"/>
    <p:sldId id="459" r:id="rId47"/>
    <p:sldId id="460" r:id="rId48"/>
    <p:sldId id="461" r:id="rId49"/>
    <p:sldId id="347" r:id="rId50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079857D-7025-4752-92DF-7B78DE4A995C}">
          <p14:sldIdLst>
            <p14:sldId id="344"/>
            <p14:sldId id="349"/>
            <p14:sldId id="410"/>
            <p14:sldId id="411"/>
            <p14:sldId id="414"/>
            <p14:sldId id="416"/>
            <p14:sldId id="417"/>
            <p14:sldId id="418"/>
            <p14:sldId id="419"/>
            <p14:sldId id="462"/>
            <p14:sldId id="463"/>
            <p14:sldId id="359"/>
            <p14:sldId id="420"/>
            <p14:sldId id="421"/>
            <p14:sldId id="422"/>
            <p14:sldId id="423"/>
            <p14:sldId id="424"/>
            <p14:sldId id="425"/>
            <p14:sldId id="426"/>
            <p14:sldId id="437"/>
            <p14:sldId id="438"/>
            <p14:sldId id="428"/>
            <p14:sldId id="429"/>
            <p14:sldId id="430"/>
            <p14:sldId id="432"/>
            <p14:sldId id="433"/>
            <p14:sldId id="434"/>
            <p14:sldId id="435"/>
            <p14:sldId id="436"/>
            <p14:sldId id="375"/>
            <p14:sldId id="439"/>
            <p14:sldId id="445"/>
            <p14:sldId id="446"/>
            <p14:sldId id="447"/>
            <p14:sldId id="448"/>
            <p14:sldId id="449"/>
            <p14:sldId id="450"/>
            <p14:sldId id="451"/>
            <p14:sldId id="452"/>
            <p14:sldId id="453"/>
            <p14:sldId id="454"/>
            <p14:sldId id="455"/>
            <p14:sldId id="456"/>
            <p14:sldId id="457"/>
            <p14:sldId id="458"/>
            <p14:sldId id="459"/>
            <p14:sldId id="460"/>
            <p14:sldId id="461"/>
            <p14:sldId id="34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65" autoAdjust="0"/>
    <p:restoredTop sz="93073" autoAdjust="0"/>
  </p:normalViewPr>
  <p:slideViewPr>
    <p:cSldViewPr>
      <p:cViewPr varScale="1">
        <p:scale>
          <a:sx n="74" d="100"/>
          <a:sy n="74" d="100"/>
        </p:scale>
        <p:origin x="1422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A05865-4863-4C73-AEB7-1F3686C9813E}" type="doc">
      <dgm:prSet loTypeId="urn:microsoft.com/office/officeart/2005/8/layout/lProcess2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C8D1DF4E-F76E-4775-AC2E-EAEF193D879C}">
      <dgm:prSet phldrT="[Text]"/>
      <dgm:spPr/>
      <dgm:t>
        <a:bodyPr/>
        <a:lstStyle/>
        <a:p>
          <a:r>
            <a:rPr lang="en-US" dirty="0" smtClean="0"/>
            <a:t>System Quality</a:t>
          </a:r>
          <a:endParaRPr lang="en-US" dirty="0"/>
        </a:p>
      </dgm:t>
    </dgm:pt>
    <dgm:pt modelId="{27784CF7-0B8E-4E9A-87B4-0D468D70B7C7}" type="parTrans" cxnId="{B4576730-E0F0-4111-BEF7-3E8A5A83C2C6}">
      <dgm:prSet/>
      <dgm:spPr/>
      <dgm:t>
        <a:bodyPr/>
        <a:lstStyle/>
        <a:p>
          <a:endParaRPr lang="en-US"/>
        </a:p>
      </dgm:t>
    </dgm:pt>
    <dgm:pt modelId="{46EE1548-E2A5-43A8-91AB-28F620D324C4}" type="sibTrans" cxnId="{B4576730-E0F0-4111-BEF7-3E8A5A83C2C6}">
      <dgm:prSet/>
      <dgm:spPr/>
      <dgm:t>
        <a:bodyPr/>
        <a:lstStyle/>
        <a:p>
          <a:endParaRPr lang="en-US"/>
        </a:p>
      </dgm:t>
    </dgm:pt>
    <dgm:pt modelId="{4C08D3EE-AF48-4937-BC8F-8B7D73E7564F}">
      <dgm:prSet phldrT="[Text]"/>
      <dgm:spPr/>
      <dgm:t>
        <a:bodyPr/>
        <a:lstStyle/>
        <a:p>
          <a:r>
            <a:rPr lang="en-US" b="1" dirty="0" smtClean="0">
              <a:solidFill>
                <a:schemeClr val="tx1"/>
              </a:solidFill>
            </a:rPr>
            <a:t>Availability</a:t>
          </a:r>
          <a:endParaRPr lang="en-US" b="1" dirty="0">
            <a:solidFill>
              <a:schemeClr val="tx1"/>
            </a:solidFill>
          </a:endParaRPr>
        </a:p>
      </dgm:t>
    </dgm:pt>
    <dgm:pt modelId="{BE7A13B5-95D3-49E2-AD0E-C6BD94589B64}" type="parTrans" cxnId="{210DCFE7-5DCB-43C2-8630-686388248E86}">
      <dgm:prSet/>
      <dgm:spPr/>
      <dgm:t>
        <a:bodyPr/>
        <a:lstStyle/>
        <a:p>
          <a:endParaRPr lang="en-US"/>
        </a:p>
      </dgm:t>
    </dgm:pt>
    <dgm:pt modelId="{0C0033F7-1408-480E-A962-DA6804AC3052}" type="sibTrans" cxnId="{210DCFE7-5DCB-43C2-8630-686388248E86}">
      <dgm:prSet/>
      <dgm:spPr/>
      <dgm:t>
        <a:bodyPr/>
        <a:lstStyle/>
        <a:p>
          <a:endParaRPr lang="en-US"/>
        </a:p>
      </dgm:t>
    </dgm:pt>
    <dgm:pt modelId="{BDBA7DCC-355E-42BC-B284-3F5D9471A7FC}">
      <dgm:prSet phldrT="[Text]"/>
      <dgm:spPr/>
      <dgm:t>
        <a:bodyPr/>
        <a:lstStyle/>
        <a:p>
          <a:r>
            <a:rPr lang="en-US" b="1" dirty="0" smtClean="0">
              <a:solidFill>
                <a:schemeClr val="tx1"/>
              </a:solidFill>
            </a:rPr>
            <a:t>Modifiability</a:t>
          </a:r>
          <a:endParaRPr lang="en-US" b="1" dirty="0">
            <a:solidFill>
              <a:schemeClr val="tx1"/>
            </a:solidFill>
          </a:endParaRPr>
        </a:p>
      </dgm:t>
    </dgm:pt>
    <dgm:pt modelId="{D0E8E3B7-9E67-48D5-B0EC-12AA0343685D}" type="parTrans" cxnId="{652AAF99-A36B-4F61-BC1D-F8FFF1E59C53}">
      <dgm:prSet/>
      <dgm:spPr/>
      <dgm:t>
        <a:bodyPr/>
        <a:lstStyle/>
        <a:p>
          <a:endParaRPr lang="en-US"/>
        </a:p>
      </dgm:t>
    </dgm:pt>
    <dgm:pt modelId="{A28A997F-35C6-4261-AA6A-C8041A8141A4}" type="sibTrans" cxnId="{652AAF99-A36B-4F61-BC1D-F8FFF1E59C53}">
      <dgm:prSet/>
      <dgm:spPr/>
      <dgm:t>
        <a:bodyPr/>
        <a:lstStyle/>
        <a:p>
          <a:endParaRPr lang="en-US"/>
        </a:p>
      </dgm:t>
    </dgm:pt>
    <dgm:pt modelId="{F0108E75-13B6-4BB9-98DB-6382A7133F8A}">
      <dgm:prSet phldrT="[Text]"/>
      <dgm:spPr/>
      <dgm:t>
        <a:bodyPr/>
        <a:lstStyle/>
        <a:p>
          <a:r>
            <a:rPr lang="en-US" dirty="0" smtClean="0"/>
            <a:t>Business Quality</a:t>
          </a:r>
          <a:endParaRPr lang="en-US" dirty="0"/>
        </a:p>
      </dgm:t>
    </dgm:pt>
    <dgm:pt modelId="{BEE14D61-425C-4CD7-8F9F-668621C32397}" type="parTrans" cxnId="{09818115-659C-4E8E-9DE1-3D5552AA7D12}">
      <dgm:prSet/>
      <dgm:spPr/>
      <dgm:t>
        <a:bodyPr/>
        <a:lstStyle/>
        <a:p>
          <a:endParaRPr lang="en-US"/>
        </a:p>
      </dgm:t>
    </dgm:pt>
    <dgm:pt modelId="{6F07FF31-F8C0-4F9A-86CD-A31017B2B7BE}" type="sibTrans" cxnId="{09818115-659C-4E8E-9DE1-3D5552AA7D12}">
      <dgm:prSet/>
      <dgm:spPr/>
      <dgm:t>
        <a:bodyPr/>
        <a:lstStyle/>
        <a:p>
          <a:endParaRPr lang="en-US"/>
        </a:p>
      </dgm:t>
    </dgm:pt>
    <dgm:pt modelId="{6D51D20D-B4AA-44F5-8822-13432EF19F07}">
      <dgm:prSet phldrT="[Text]"/>
      <dgm:spPr/>
      <dgm:t>
        <a:bodyPr/>
        <a:lstStyle/>
        <a:p>
          <a:r>
            <a:rPr lang="en-US" b="0" dirty="0" smtClean="0"/>
            <a:t>Time to market</a:t>
          </a:r>
          <a:endParaRPr lang="en-US" b="0" dirty="0"/>
        </a:p>
      </dgm:t>
    </dgm:pt>
    <dgm:pt modelId="{6D1AF599-65B3-4EFB-887D-3A02691FF537}" type="parTrans" cxnId="{E61049E7-FA11-4044-9912-5E4C290D2DF4}">
      <dgm:prSet/>
      <dgm:spPr/>
      <dgm:t>
        <a:bodyPr/>
        <a:lstStyle/>
        <a:p>
          <a:endParaRPr lang="en-US"/>
        </a:p>
      </dgm:t>
    </dgm:pt>
    <dgm:pt modelId="{87567CFA-1532-45FD-8F8C-829C0F91DB21}" type="sibTrans" cxnId="{E61049E7-FA11-4044-9912-5E4C290D2DF4}">
      <dgm:prSet/>
      <dgm:spPr/>
      <dgm:t>
        <a:bodyPr/>
        <a:lstStyle/>
        <a:p>
          <a:endParaRPr lang="en-US"/>
        </a:p>
      </dgm:t>
    </dgm:pt>
    <dgm:pt modelId="{E41FB32D-DFC8-4A18-8A09-008D946B3DB7}">
      <dgm:prSet phldrT="[Text]"/>
      <dgm:spPr/>
      <dgm:t>
        <a:bodyPr/>
        <a:lstStyle/>
        <a:p>
          <a:r>
            <a:rPr lang="en-US" dirty="0" smtClean="0"/>
            <a:t>Cost and benefit</a:t>
          </a:r>
          <a:endParaRPr lang="en-US" dirty="0"/>
        </a:p>
      </dgm:t>
    </dgm:pt>
    <dgm:pt modelId="{EAA95D6C-AB5F-41B9-B8B6-1B4A85FDE03E}" type="parTrans" cxnId="{D8E17C84-1AFD-4E57-BC06-966DD9EA9B5F}">
      <dgm:prSet/>
      <dgm:spPr/>
      <dgm:t>
        <a:bodyPr/>
        <a:lstStyle/>
        <a:p>
          <a:endParaRPr lang="en-US"/>
        </a:p>
      </dgm:t>
    </dgm:pt>
    <dgm:pt modelId="{65C7A182-C857-47D8-9CD0-96CA5646ADBF}" type="sibTrans" cxnId="{D8E17C84-1AFD-4E57-BC06-966DD9EA9B5F}">
      <dgm:prSet/>
      <dgm:spPr/>
      <dgm:t>
        <a:bodyPr/>
        <a:lstStyle/>
        <a:p>
          <a:endParaRPr lang="en-US"/>
        </a:p>
      </dgm:t>
    </dgm:pt>
    <dgm:pt modelId="{A2A31375-8212-4FC8-A6CA-ADE91BDC72A3}">
      <dgm:prSet phldrT="[Text]"/>
      <dgm:spPr/>
      <dgm:t>
        <a:bodyPr/>
        <a:lstStyle/>
        <a:p>
          <a:r>
            <a:rPr lang="en-US" dirty="0" smtClean="0"/>
            <a:t>Quality of Architecture</a:t>
          </a:r>
          <a:endParaRPr lang="en-US" dirty="0"/>
        </a:p>
      </dgm:t>
    </dgm:pt>
    <dgm:pt modelId="{48D17C35-CF22-44BD-9337-0AA72AEE5911}" type="parTrans" cxnId="{A4E6E17A-773C-44C8-91FC-6DF174816FFC}">
      <dgm:prSet/>
      <dgm:spPr/>
      <dgm:t>
        <a:bodyPr/>
        <a:lstStyle/>
        <a:p>
          <a:endParaRPr lang="en-US"/>
        </a:p>
      </dgm:t>
    </dgm:pt>
    <dgm:pt modelId="{ECA74A52-D464-429F-8EC4-6E3B99D438B0}" type="sibTrans" cxnId="{A4E6E17A-773C-44C8-91FC-6DF174816FFC}">
      <dgm:prSet/>
      <dgm:spPr/>
      <dgm:t>
        <a:bodyPr/>
        <a:lstStyle/>
        <a:p>
          <a:endParaRPr lang="en-US"/>
        </a:p>
      </dgm:t>
    </dgm:pt>
    <dgm:pt modelId="{484953EE-E5A0-44A7-8692-8227D98F11A4}">
      <dgm:prSet phldrT="[Text]"/>
      <dgm:spPr/>
      <dgm:t>
        <a:bodyPr/>
        <a:lstStyle/>
        <a:p>
          <a:r>
            <a:rPr lang="en-US" b="0" dirty="0" smtClean="0"/>
            <a:t>Conceptual Integrity</a:t>
          </a:r>
          <a:endParaRPr lang="en-US" b="0" dirty="0"/>
        </a:p>
      </dgm:t>
    </dgm:pt>
    <dgm:pt modelId="{A88C6C2F-6D43-4FC5-9982-77091252F772}" type="parTrans" cxnId="{78204DFB-683C-4531-93B5-45CB0E83154D}">
      <dgm:prSet/>
      <dgm:spPr/>
      <dgm:t>
        <a:bodyPr/>
        <a:lstStyle/>
        <a:p>
          <a:endParaRPr lang="en-US"/>
        </a:p>
      </dgm:t>
    </dgm:pt>
    <dgm:pt modelId="{30EB5B96-DE6C-4B83-BF0B-269D100AD782}" type="sibTrans" cxnId="{78204DFB-683C-4531-93B5-45CB0E83154D}">
      <dgm:prSet/>
      <dgm:spPr/>
      <dgm:t>
        <a:bodyPr/>
        <a:lstStyle/>
        <a:p>
          <a:endParaRPr lang="en-US"/>
        </a:p>
      </dgm:t>
    </dgm:pt>
    <dgm:pt modelId="{FFAB2035-E760-4A01-BB85-1FA1D1DB9D20}">
      <dgm:prSet phldrT="[Text]"/>
      <dgm:spPr/>
      <dgm:t>
        <a:bodyPr/>
        <a:lstStyle/>
        <a:p>
          <a:r>
            <a:rPr lang="en-US" dirty="0" err="1" smtClean="0"/>
            <a:t>Buildability</a:t>
          </a:r>
          <a:endParaRPr lang="en-US" dirty="0"/>
        </a:p>
      </dgm:t>
    </dgm:pt>
    <dgm:pt modelId="{D88E3348-702E-4821-8AA6-DE7CF46A943F}" type="parTrans" cxnId="{34A9BEC2-5006-4CCC-B99A-A4E0F62AB304}">
      <dgm:prSet/>
      <dgm:spPr/>
      <dgm:t>
        <a:bodyPr/>
        <a:lstStyle/>
        <a:p>
          <a:endParaRPr lang="en-US"/>
        </a:p>
      </dgm:t>
    </dgm:pt>
    <dgm:pt modelId="{BE0BF798-7E9C-44FD-BF64-BAF63FD57A26}" type="sibTrans" cxnId="{34A9BEC2-5006-4CCC-B99A-A4E0F62AB304}">
      <dgm:prSet/>
      <dgm:spPr/>
      <dgm:t>
        <a:bodyPr/>
        <a:lstStyle/>
        <a:p>
          <a:endParaRPr lang="en-US"/>
        </a:p>
      </dgm:t>
    </dgm:pt>
    <dgm:pt modelId="{1EA22120-137D-4508-9421-76E451C32E56}">
      <dgm:prSet phldrT="[Text]"/>
      <dgm:spPr/>
      <dgm:t>
        <a:bodyPr/>
        <a:lstStyle/>
        <a:p>
          <a:r>
            <a:rPr lang="en-US" b="1" dirty="0" smtClean="0">
              <a:solidFill>
                <a:schemeClr val="tx1"/>
              </a:solidFill>
            </a:rPr>
            <a:t>Performance</a:t>
          </a:r>
          <a:endParaRPr lang="en-US" b="1" dirty="0">
            <a:solidFill>
              <a:schemeClr val="tx1"/>
            </a:solidFill>
          </a:endParaRPr>
        </a:p>
      </dgm:t>
    </dgm:pt>
    <dgm:pt modelId="{D27A61D1-A56F-4D58-A662-DA7A3EBB6F87}" type="parTrans" cxnId="{078B2CBB-0343-4224-A1E6-6B55DC77D44C}">
      <dgm:prSet/>
      <dgm:spPr/>
      <dgm:t>
        <a:bodyPr/>
        <a:lstStyle/>
        <a:p>
          <a:endParaRPr lang="en-US"/>
        </a:p>
      </dgm:t>
    </dgm:pt>
    <dgm:pt modelId="{52CEA4AF-9DB1-4E9B-A353-792E3B412FD5}" type="sibTrans" cxnId="{078B2CBB-0343-4224-A1E6-6B55DC77D44C}">
      <dgm:prSet/>
      <dgm:spPr/>
      <dgm:t>
        <a:bodyPr/>
        <a:lstStyle/>
        <a:p>
          <a:endParaRPr lang="en-US"/>
        </a:p>
      </dgm:t>
    </dgm:pt>
    <dgm:pt modelId="{2E8BE092-B1F9-42A3-ADFB-F77ED4CC551E}">
      <dgm:prSet phldrT="[Text]"/>
      <dgm:spPr/>
      <dgm:t>
        <a:bodyPr/>
        <a:lstStyle/>
        <a:p>
          <a:r>
            <a:rPr lang="en-US" b="1" dirty="0" smtClean="0">
              <a:solidFill>
                <a:schemeClr val="tx1"/>
              </a:solidFill>
            </a:rPr>
            <a:t>Security</a:t>
          </a:r>
          <a:endParaRPr lang="en-US" b="1" dirty="0">
            <a:solidFill>
              <a:schemeClr val="tx1"/>
            </a:solidFill>
          </a:endParaRPr>
        </a:p>
      </dgm:t>
    </dgm:pt>
    <dgm:pt modelId="{1178F785-3EF4-43AC-9853-6DB4F3903C2B}" type="parTrans" cxnId="{CB777C08-520F-4F8A-874F-AC213E92D8F2}">
      <dgm:prSet/>
      <dgm:spPr/>
      <dgm:t>
        <a:bodyPr/>
        <a:lstStyle/>
        <a:p>
          <a:endParaRPr lang="en-US"/>
        </a:p>
      </dgm:t>
    </dgm:pt>
    <dgm:pt modelId="{ADF141F0-3809-456E-AFFA-99AB7F27B272}" type="sibTrans" cxnId="{CB777C08-520F-4F8A-874F-AC213E92D8F2}">
      <dgm:prSet/>
      <dgm:spPr/>
      <dgm:t>
        <a:bodyPr/>
        <a:lstStyle/>
        <a:p>
          <a:endParaRPr lang="en-US"/>
        </a:p>
      </dgm:t>
    </dgm:pt>
    <dgm:pt modelId="{9FD7B6D0-C224-41F8-9146-53E9229D24E8}">
      <dgm:prSet phldrT="[Text]"/>
      <dgm:spPr/>
      <dgm:t>
        <a:bodyPr/>
        <a:lstStyle/>
        <a:p>
          <a:r>
            <a:rPr lang="en-US" b="1" dirty="0" smtClean="0">
              <a:solidFill>
                <a:schemeClr val="tx1"/>
              </a:solidFill>
            </a:rPr>
            <a:t>Usability</a:t>
          </a:r>
          <a:endParaRPr lang="en-US" b="1" dirty="0">
            <a:solidFill>
              <a:schemeClr val="tx1"/>
            </a:solidFill>
          </a:endParaRPr>
        </a:p>
      </dgm:t>
    </dgm:pt>
    <dgm:pt modelId="{BF359DC8-4B4B-41BD-851D-5CFEEDDC9F32}" type="parTrans" cxnId="{0984AEB3-CCE5-4999-BBA1-B5D15AA9DCF3}">
      <dgm:prSet/>
      <dgm:spPr/>
      <dgm:t>
        <a:bodyPr/>
        <a:lstStyle/>
        <a:p>
          <a:endParaRPr lang="en-US"/>
        </a:p>
      </dgm:t>
    </dgm:pt>
    <dgm:pt modelId="{CA0496DD-6775-4178-A5CD-F47FA9DC521A}" type="sibTrans" cxnId="{0984AEB3-CCE5-4999-BBA1-B5D15AA9DCF3}">
      <dgm:prSet/>
      <dgm:spPr/>
      <dgm:t>
        <a:bodyPr/>
        <a:lstStyle/>
        <a:p>
          <a:endParaRPr lang="en-US"/>
        </a:p>
      </dgm:t>
    </dgm:pt>
    <dgm:pt modelId="{FF08E916-6AAA-4FC8-9D98-59275C3CDE2D}">
      <dgm:prSet phldrT="[Text]"/>
      <dgm:spPr/>
      <dgm:t>
        <a:bodyPr/>
        <a:lstStyle/>
        <a:p>
          <a:r>
            <a:rPr lang="en-US" b="1" dirty="0" smtClean="0">
              <a:solidFill>
                <a:schemeClr val="tx1"/>
              </a:solidFill>
            </a:rPr>
            <a:t>Testability</a:t>
          </a:r>
          <a:endParaRPr lang="en-US" b="1" dirty="0">
            <a:solidFill>
              <a:schemeClr val="tx1"/>
            </a:solidFill>
          </a:endParaRPr>
        </a:p>
      </dgm:t>
    </dgm:pt>
    <dgm:pt modelId="{9B9B4C58-3ED0-4EDF-B6C2-BEBEF09EC39E}" type="parTrans" cxnId="{8602F9F5-E8CB-4019-8D5F-25BB9E93D55F}">
      <dgm:prSet/>
      <dgm:spPr/>
      <dgm:t>
        <a:bodyPr/>
        <a:lstStyle/>
        <a:p>
          <a:endParaRPr lang="en-US"/>
        </a:p>
      </dgm:t>
    </dgm:pt>
    <dgm:pt modelId="{3E8C6A1D-7C48-4066-B3EE-B6310E00E99F}" type="sibTrans" cxnId="{8602F9F5-E8CB-4019-8D5F-25BB9E93D55F}">
      <dgm:prSet/>
      <dgm:spPr/>
      <dgm:t>
        <a:bodyPr/>
        <a:lstStyle/>
        <a:p>
          <a:endParaRPr lang="en-US"/>
        </a:p>
      </dgm:t>
    </dgm:pt>
    <dgm:pt modelId="{BE02A524-FA54-4C20-BF4D-CDDA8305B91E}">
      <dgm:prSet phldrT="[Text]"/>
      <dgm:spPr/>
      <dgm:t>
        <a:bodyPr/>
        <a:lstStyle/>
        <a:p>
          <a:r>
            <a:rPr lang="en-US" dirty="0" smtClean="0"/>
            <a:t>Project lifetime</a:t>
          </a:r>
          <a:endParaRPr lang="en-US" dirty="0"/>
        </a:p>
      </dgm:t>
    </dgm:pt>
    <dgm:pt modelId="{AC91A558-5C99-444A-817C-201E6995243C}" type="parTrans" cxnId="{305A8E8D-5B5E-439A-B04C-ADF4910C6412}">
      <dgm:prSet/>
      <dgm:spPr/>
      <dgm:t>
        <a:bodyPr/>
        <a:lstStyle/>
        <a:p>
          <a:endParaRPr lang="en-US"/>
        </a:p>
      </dgm:t>
    </dgm:pt>
    <dgm:pt modelId="{A9019DF0-4843-4E34-93DA-7FB33755FFB0}" type="sibTrans" cxnId="{305A8E8D-5B5E-439A-B04C-ADF4910C6412}">
      <dgm:prSet/>
      <dgm:spPr/>
      <dgm:t>
        <a:bodyPr/>
        <a:lstStyle/>
        <a:p>
          <a:endParaRPr lang="en-US"/>
        </a:p>
      </dgm:t>
    </dgm:pt>
    <dgm:pt modelId="{4DA59F50-A082-40D7-A2F6-C258B17EF694}">
      <dgm:prSet phldrT="[Text]"/>
      <dgm:spPr/>
      <dgm:t>
        <a:bodyPr/>
        <a:lstStyle/>
        <a:p>
          <a:r>
            <a:rPr lang="en-US" dirty="0" smtClean="0"/>
            <a:t>Targeted market</a:t>
          </a:r>
          <a:endParaRPr lang="en-US" dirty="0"/>
        </a:p>
      </dgm:t>
    </dgm:pt>
    <dgm:pt modelId="{57F79E7C-5701-449C-BC7E-33AC44EFEEEA}" type="parTrans" cxnId="{0A3A4113-AF90-439A-80A3-E4FEDA9F957C}">
      <dgm:prSet/>
      <dgm:spPr/>
      <dgm:t>
        <a:bodyPr/>
        <a:lstStyle/>
        <a:p>
          <a:endParaRPr lang="en-US"/>
        </a:p>
      </dgm:t>
    </dgm:pt>
    <dgm:pt modelId="{30E00DDC-2B6B-4054-91A1-A4691DAA0BF8}" type="sibTrans" cxnId="{0A3A4113-AF90-439A-80A3-E4FEDA9F957C}">
      <dgm:prSet/>
      <dgm:spPr/>
      <dgm:t>
        <a:bodyPr/>
        <a:lstStyle/>
        <a:p>
          <a:endParaRPr lang="en-US"/>
        </a:p>
      </dgm:t>
    </dgm:pt>
    <dgm:pt modelId="{756476DC-3E65-44DB-8A8F-3D896E90178F}">
      <dgm:prSet phldrT="[Text]"/>
      <dgm:spPr/>
      <dgm:t>
        <a:bodyPr/>
        <a:lstStyle/>
        <a:p>
          <a:r>
            <a:rPr lang="en-US" dirty="0" smtClean="0"/>
            <a:t>Rollout schedule</a:t>
          </a:r>
          <a:endParaRPr lang="en-US" dirty="0"/>
        </a:p>
      </dgm:t>
    </dgm:pt>
    <dgm:pt modelId="{DEFD2A94-B7A8-4E4E-8183-D69E3E9BD517}" type="parTrans" cxnId="{D4DCA4C1-51CB-4613-AE6D-64A063B409B4}">
      <dgm:prSet/>
      <dgm:spPr/>
      <dgm:t>
        <a:bodyPr/>
        <a:lstStyle/>
        <a:p>
          <a:endParaRPr lang="en-US"/>
        </a:p>
      </dgm:t>
    </dgm:pt>
    <dgm:pt modelId="{995F8215-43D1-4833-BD50-18D1FC1ECD4D}" type="sibTrans" cxnId="{D4DCA4C1-51CB-4613-AE6D-64A063B409B4}">
      <dgm:prSet/>
      <dgm:spPr/>
      <dgm:t>
        <a:bodyPr/>
        <a:lstStyle/>
        <a:p>
          <a:endParaRPr lang="en-US"/>
        </a:p>
      </dgm:t>
    </dgm:pt>
    <dgm:pt modelId="{FD6B0408-461F-49B9-87F8-569779FE2DC9}">
      <dgm:prSet phldrT="[Text]"/>
      <dgm:spPr/>
      <dgm:t>
        <a:bodyPr/>
        <a:lstStyle/>
        <a:p>
          <a:r>
            <a:rPr lang="en-US" dirty="0" smtClean="0"/>
            <a:t>Legacy integration</a:t>
          </a:r>
          <a:endParaRPr lang="en-US" dirty="0"/>
        </a:p>
      </dgm:t>
    </dgm:pt>
    <dgm:pt modelId="{503CF6FF-B035-4FF2-AD9F-38B4BB570206}" type="parTrans" cxnId="{78600050-A6AB-4002-B03B-8A34355C7F01}">
      <dgm:prSet/>
      <dgm:spPr/>
      <dgm:t>
        <a:bodyPr/>
        <a:lstStyle/>
        <a:p>
          <a:endParaRPr lang="en-US"/>
        </a:p>
      </dgm:t>
    </dgm:pt>
    <dgm:pt modelId="{6D751CA7-999D-4253-83F5-C1C38F75A96A}" type="sibTrans" cxnId="{78600050-A6AB-4002-B03B-8A34355C7F01}">
      <dgm:prSet/>
      <dgm:spPr/>
      <dgm:t>
        <a:bodyPr/>
        <a:lstStyle/>
        <a:p>
          <a:endParaRPr lang="en-US"/>
        </a:p>
      </dgm:t>
    </dgm:pt>
    <dgm:pt modelId="{7DF58CA2-B76E-4D44-A56E-D7F77C52B8F7}">
      <dgm:prSet phldrT="[Text]"/>
      <dgm:spPr/>
      <dgm:t>
        <a:bodyPr/>
        <a:lstStyle/>
        <a:p>
          <a:r>
            <a:rPr lang="en-US" dirty="0" smtClean="0"/>
            <a:t>Correctness</a:t>
          </a:r>
          <a:endParaRPr lang="en-US" dirty="0"/>
        </a:p>
      </dgm:t>
    </dgm:pt>
    <dgm:pt modelId="{2EB43E07-B036-4005-9031-E3289908DF15}" type="parTrans" cxnId="{AA628416-B5BF-46F7-9D27-2F733E6BD791}">
      <dgm:prSet/>
      <dgm:spPr/>
      <dgm:t>
        <a:bodyPr/>
        <a:lstStyle/>
        <a:p>
          <a:endParaRPr lang="en-US"/>
        </a:p>
      </dgm:t>
    </dgm:pt>
    <dgm:pt modelId="{B170C848-088D-4E88-9BB2-76F4172E0DAF}" type="sibTrans" cxnId="{AA628416-B5BF-46F7-9D27-2F733E6BD791}">
      <dgm:prSet/>
      <dgm:spPr/>
      <dgm:t>
        <a:bodyPr/>
        <a:lstStyle/>
        <a:p>
          <a:endParaRPr lang="en-US"/>
        </a:p>
      </dgm:t>
    </dgm:pt>
    <dgm:pt modelId="{342D9EBD-4B7F-44A4-9150-BE714A3EBB9B}">
      <dgm:prSet/>
      <dgm:spPr/>
      <dgm:t>
        <a:bodyPr/>
        <a:lstStyle/>
        <a:p>
          <a:r>
            <a:rPr lang="en-US" dirty="0" smtClean="0"/>
            <a:t>completeness</a:t>
          </a:r>
          <a:endParaRPr lang="en-US" dirty="0"/>
        </a:p>
      </dgm:t>
    </dgm:pt>
    <dgm:pt modelId="{109938C5-6177-48C8-89EE-055B4CB478FE}" type="parTrans" cxnId="{5F3A5C00-D384-4D2D-BC1E-05C751A87ADF}">
      <dgm:prSet/>
      <dgm:spPr/>
      <dgm:t>
        <a:bodyPr/>
        <a:lstStyle/>
        <a:p>
          <a:endParaRPr lang="en-US"/>
        </a:p>
      </dgm:t>
    </dgm:pt>
    <dgm:pt modelId="{107E72EE-E380-4F08-8619-362D7031B74E}" type="sibTrans" cxnId="{5F3A5C00-D384-4D2D-BC1E-05C751A87ADF}">
      <dgm:prSet/>
      <dgm:spPr/>
      <dgm:t>
        <a:bodyPr/>
        <a:lstStyle/>
        <a:p>
          <a:endParaRPr lang="en-US"/>
        </a:p>
      </dgm:t>
    </dgm:pt>
    <dgm:pt modelId="{017ED3EB-434C-4879-9E16-C1DB0BB383F3}" type="pres">
      <dgm:prSet presAssocID="{F7A05865-4863-4C73-AEB7-1F3686C9813E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9940B1C-7214-448A-ADB3-A6366EFE01F0}" type="pres">
      <dgm:prSet presAssocID="{C8D1DF4E-F76E-4775-AC2E-EAEF193D879C}" presName="compNode" presStyleCnt="0"/>
      <dgm:spPr/>
    </dgm:pt>
    <dgm:pt modelId="{84783A7C-174C-4261-AE35-B8F22E3EA6E7}" type="pres">
      <dgm:prSet presAssocID="{C8D1DF4E-F76E-4775-AC2E-EAEF193D879C}" presName="aNode" presStyleLbl="bgShp" presStyleIdx="0" presStyleCnt="3"/>
      <dgm:spPr/>
      <dgm:t>
        <a:bodyPr/>
        <a:lstStyle/>
        <a:p>
          <a:endParaRPr lang="en-US"/>
        </a:p>
      </dgm:t>
    </dgm:pt>
    <dgm:pt modelId="{C42D8985-E4C5-4A8E-BDB8-9FE9459935F5}" type="pres">
      <dgm:prSet presAssocID="{C8D1DF4E-F76E-4775-AC2E-EAEF193D879C}" presName="textNode" presStyleLbl="bgShp" presStyleIdx="0" presStyleCnt="3"/>
      <dgm:spPr/>
      <dgm:t>
        <a:bodyPr/>
        <a:lstStyle/>
        <a:p>
          <a:endParaRPr lang="en-US"/>
        </a:p>
      </dgm:t>
    </dgm:pt>
    <dgm:pt modelId="{AECC9E06-2444-4043-8888-E611D91F98C0}" type="pres">
      <dgm:prSet presAssocID="{C8D1DF4E-F76E-4775-AC2E-EAEF193D879C}" presName="compChildNode" presStyleCnt="0"/>
      <dgm:spPr/>
    </dgm:pt>
    <dgm:pt modelId="{06AD285C-38C6-4CBD-9D79-BF2E1420E11D}" type="pres">
      <dgm:prSet presAssocID="{C8D1DF4E-F76E-4775-AC2E-EAEF193D879C}" presName="theInnerList" presStyleCnt="0"/>
      <dgm:spPr/>
    </dgm:pt>
    <dgm:pt modelId="{142ACBD7-E1A2-4A0F-AB9F-C5D4F72ED833}" type="pres">
      <dgm:prSet presAssocID="{4C08D3EE-AF48-4937-BC8F-8B7D73E7564F}" presName="childNode" presStyleLbl="node1" presStyleIdx="0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179C6B7-0A64-4330-81A9-157198A14982}" type="pres">
      <dgm:prSet presAssocID="{4C08D3EE-AF48-4937-BC8F-8B7D73E7564F}" presName="aSpace2" presStyleCnt="0"/>
      <dgm:spPr/>
    </dgm:pt>
    <dgm:pt modelId="{B215B456-D685-4ACC-808E-CC2B8DB5E036}" type="pres">
      <dgm:prSet presAssocID="{BDBA7DCC-355E-42BC-B284-3F5D9471A7FC}" presName="childNode" presStyleLbl="node1" presStyleIdx="1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1D56F3A-95A9-4371-8C21-60728FFC1562}" type="pres">
      <dgm:prSet presAssocID="{BDBA7DCC-355E-42BC-B284-3F5D9471A7FC}" presName="aSpace2" presStyleCnt="0"/>
      <dgm:spPr/>
    </dgm:pt>
    <dgm:pt modelId="{678406F9-0B84-4F67-A51F-439C0E97E476}" type="pres">
      <dgm:prSet presAssocID="{1EA22120-137D-4508-9421-76E451C32E56}" presName="childNode" presStyleLbl="node1" presStyleIdx="2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B58694-071C-463B-AB80-8EEF5B6633EF}" type="pres">
      <dgm:prSet presAssocID="{1EA22120-137D-4508-9421-76E451C32E56}" presName="aSpace2" presStyleCnt="0"/>
      <dgm:spPr/>
    </dgm:pt>
    <dgm:pt modelId="{381FC751-3918-433C-AF88-8FD7E3F99930}" type="pres">
      <dgm:prSet presAssocID="{2E8BE092-B1F9-42A3-ADFB-F77ED4CC551E}" presName="childNode" presStyleLbl="node1" presStyleIdx="3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CA5175C-BC88-4A26-96A7-7647E61EEEED}" type="pres">
      <dgm:prSet presAssocID="{2E8BE092-B1F9-42A3-ADFB-F77ED4CC551E}" presName="aSpace2" presStyleCnt="0"/>
      <dgm:spPr/>
    </dgm:pt>
    <dgm:pt modelId="{7226CAA6-7B46-4760-BA96-6800727D20BB}" type="pres">
      <dgm:prSet presAssocID="{FF08E916-6AAA-4FC8-9D98-59275C3CDE2D}" presName="childNode" presStyleLbl="node1" presStyleIdx="4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347E5A-8196-42F3-A876-A5980FE5E2C2}" type="pres">
      <dgm:prSet presAssocID="{FF08E916-6AAA-4FC8-9D98-59275C3CDE2D}" presName="aSpace2" presStyleCnt="0"/>
      <dgm:spPr/>
    </dgm:pt>
    <dgm:pt modelId="{96AE634F-D0EF-4A87-B26C-D55AE4DABB7D}" type="pres">
      <dgm:prSet presAssocID="{9FD7B6D0-C224-41F8-9146-53E9229D24E8}" presName="childNode" presStyleLbl="node1" presStyleIdx="5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5117D5B-7CD6-4B7E-83CE-D3CAAD23C803}" type="pres">
      <dgm:prSet presAssocID="{C8D1DF4E-F76E-4775-AC2E-EAEF193D879C}" presName="aSpace" presStyleCnt="0"/>
      <dgm:spPr/>
    </dgm:pt>
    <dgm:pt modelId="{A8FF5C23-94C5-4D84-A2E1-598B2226AD02}" type="pres">
      <dgm:prSet presAssocID="{F0108E75-13B6-4BB9-98DB-6382A7133F8A}" presName="compNode" presStyleCnt="0"/>
      <dgm:spPr/>
    </dgm:pt>
    <dgm:pt modelId="{C2EA1DFA-A78A-4C5E-888D-B45ECBB7CFAC}" type="pres">
      <dgm:prSet presAssocID="{F0108E75-13B6-4BB9-98DB-6382A7133F8A}" presName="aNode" presStyleLbl="bgShp" presStyleIdx="1" presStyleCnt="3"/>
      <dgm:spPr/>
      <dgm:t>
        <a:bodyPr/>
        <a:lstStyle/>
        <a:p>
          <a:endParaRPr lang="en-US"/>
        </a:p>
      </dgm:t>
    </dgm:pt>
    <dgm:pt modelId="{C0A1013E-5C54-4332-AC7F-7A566ADDBA13}" type="pres">
      <dgm:prSet presAssocID="{F0108E75-13B6-4BB9-98DB-6382A7133F8A}" presName="textNode" presStyleLbl="bgShp" presStyleIdx="1" presStyleCnt="3"/>
      <dgm:spPr/>
      <dgm:t>
        <a:bodyPr/>
        <a:lstStyle/>
        <a:p>
          <a:endParaRPr lang="en-US"/>
        </a:p>
      </dgm:t>
    </dgm:pt>
    <dgm:pt modelId="{1B90FDEF-0DFD-4317-B912-772FCCFF619C}" type="pres">
      <dgm:prSet presAssocID="{F0108E75-13B6-4BB9-98DB-6382A7133F8A}" presName="compChildNode" presStyleCnt="0"/>
      <dgm:spPr/>
    </dgm:pt>
    <dgm:pt modelId="{3D9AA508-F5D2-4126-B3B3-09389B11F500}" type="pres">
      <dgm:prSet presAssocID="{F0108E75-13B6-4BB9-98DB-6382A7133F8A}" presName="theInnerList" presStyleCnt="0"/>
      <dgm:spPr/>
    </dgm:pt>
    <dgm:pt modelId="{09F78D94-8018-4C8F-A097-38351F4D6FE0}" type="pres">
      <dgm:prSet presAssocID="{6D51D20D-B4AA-44F5-8822-13432EF19F07}" presName="childNode" presStyleLbl="node1" presStyleIdx="6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54DA71C-91A0-4F54-A08F-934591128E76}" type="pres">
      <dgm:prSet presAssocID="{6D51D20D-B4AA-44F5-8822-13432EF19F07}" presName="aSpace2" presStyleCnt="0"/>
      <dgm:spPr/>
    </dgm:pt>
    <dgm:pt modelId="{01D89F89-A9EA-437C-8CA9-FDCBE0105536}" type="pres">
      <dgm:prSet presAssocID="{E41FB32D-DFC8-4A18-8A09-008D946B3DB7}" presName="childNode" presStyleLbl="node1" presStyleIdx="7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7D52189-C9F3-4CCA-98E3-5988EC29B8CA}" type="pres">
      <dgm:prSet presAssocID="{E41FB32D-DFC8-4A18-8A09-008D946B3DB7}" presName="aSpace2" presStyleCnt="0"/>
      <dgm:spPr/>
    </dgm:pt>
    <dgm:pt modelId="{3421998F-D017-48B1-A46C-C918645CF4F6}" type="pres">
      <dgm:prSet presAssocID="{BE02A524-FA54-4C20-BF4D-CDDA8305B91E}" presName="childNode" presStyleLbl="node1" presStyleIdx="8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4209A70-989D-4E79-8C3D-A52590BAD9EA}" type="pres">
      <dgm:prSet presAssocID="{BE02A524-FA54-4C20-BF4D-CDDA8305B91E}" presName="aSpace2" presStyleCnt="0"/>
      <dgm:spPr/>
    </dgm:pt>
    <dgm:pt modelId="{4EACF501-C421-43C7-9F55-E744C605193E}" type="pres">
      <dgm:prSet presAssocID="{4DA59F50-A082-40D7-A2F6-C258B17EF694}" presName="childNode" presStyleLbl="node1" presStyleIdx="9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4391942-FA04-4F18-AE50-A6901D06435C}" type="pres">
      <dgm:prSet presAssocID="{4DA59F50-A082-40D7-A2F6-C258B17EF694}" presName="aSpace2" presStyleCnt="0"/>
      <dgm:spPr/>
    </dgm:pt>
    <dgm:pt modelId="{E4D1FC4D-9158-4DC5-8CD1-A7624CA88DA3}" type="pres">
      <dgm:prSet presAssocID="{756476DC-3E65-44DB-8A8F-3D896E90178F}" presName="childNode" presStyleLbl="node1" presStyleIdx="10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2D9616B-87E1-425A-8055-C858699F95A0}" type="pres">
      <dgm:prSet presAssocID="{756476DC-3E65-44DB-8A8F-3D896E90178F}" presName="aSpace2" presStyleCnt="0"/>
      <dgm:spPr/>
    </dgm:pt>
    <dgm:pt modelId="{FAAC9442-A6D1-4316-982F-23426466EC5A}" type="pres">
      <dgm:prSet presAssocID="{FD6B0408-461F-49B9-87F8-569779FE2DC9}" presName="childNode" presStyleLbl="node1" presStyleIdx="11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29A7BF-2CCE-419E-AD4B-14086258066B}" type="pres">
      <dgm:prSet presAssocID="{F0108E75-13B6-4BB9-98DB-6382A7133F8A}" presName="aSpace" presStyleCnt="0"/>
      <dgm:spPr/>
    </dgm:pt>
    <dgm:pt modelId="{F98B1017-9F6D-40A7-8FCA-0610B7F56C31}" type="pres">
      <dgm:prSet presAssocID="{A2A31375-8212-4FC8-A6CA-ADE91BDC72A3}" presName="compNode" presStyleCnt="0"/>
      <dgm:spPr/>
    </dgm:pt>
    <dgm:pt modelId="{2B77E2F5-1346-4034-87BA-2480C596A284}" type="pres">
      <dgm:prSet presAssocID="{A2A31375-8212-4FC8-A6CA-ADE91BDC72A3}" presName="aNode" presStyleLbl="bgShp" presStyleIdx="2" presStyleCnt="3"/>
      <dgm:spPr/>
      <dgm:t>
        <a:bodyPr/>
        <a:lstStyle/>
        <a:p>
          <a:endParaRPr lang="en-US"/>
        </a:p>
      </dgm:t>
    </dgm:pt>
    <dgm:pt modelId="{0794044B-84A9-434B-B9FD-6F948D3C55AC}" type="pres">
      <dgm:prSet presAssocID="{A2A31375-8212-4FC8-A6CA-ADE91BDC72A3}" presName="textNode" presStyleLbl="bgShp" presStyleIdx="2" presStyleCnt="3"/>
      <dgm:spPr/>
      <dgm:t>
        <a:bodyPr/>
        <a:lstStyle/>
        <a:p>
          <a:endParaRPr lang="en-US"/>
        </a:p>
      </dgm:t>
    </dgm:pt>
    <dgm:pt modelId="{7C268240-623B-4AD2-AE7F-21B3AF33FD56}" type="pres">
      <dgm:prSet presAssocID="{A2A31375-8212-4FC8-A6CA-ADE91BDC72A3}" presName="compChildNode" presStyleCnt="0"/>
      <dgm:spPr/>
    </dgm:pt>
    <dgm:pt modelId="{76F237F9-02D2-4C66-978F-C26114E9EA05}" type="pres">
      <dgm:prSet presAssocID="{A2A31375-8212-4FC8-A6CA-ADE91BDC72A3}" presName="theInnerList" presStyleCnt="0"/>
      <dgm:spPr/>
    </dgm:pt>
    <dgm:pt modelId="{7744BB61-1AC4-44F0-AFFE-ED763612E2C0}" type="pres">
      <dgm:prSet presAssocID="{484953EE-E5A0-44A7-8692-8227D98F11A4}" presName="childNode" presStyleLbl="node1" presStyleIdx="12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C88062C-0E5C-4D04-BD39-3E8AD91E48EF}" type="pres">
      <dgm:prSet presAssocID="{484953EE-E5A0-44A7-8692-8227D98F11A4}" presName="aSpace2" presStyleCnt="0"/>
      <dgm:spPr/>
    </dgm:pt>
    <dgm:pt modelId="{B86527D0-D365-4205-B1BB-E76B69F611FA}" type="pres">
      <dgm:prSet presAssocID="{7DF58CA2-B76E-4D44-A56E-D7F77C52B8F7}" presName="childNode" presStyleLbl="node1" presStyleIdx="13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A67BAFE-24F4-4B9C-8F8D-6D01489DB90D}" type="pres">
      <dgm:prSet presAssocID="{7DF58CA2-B76E-4D44-A56E-D7F77C52B8F7}" presName="aSpace2" presStyleCnt="0"/>
      <dgm:spPr/>
    </dgm:pt>
    <dgm:pt modelId="{261C7135-9109-4506-8608-DB28763C6FFF}" type="pres">
      <dgm:prSet presAssocID="{342D9EBD-4B7F-44A4-9150-BE714A3EBB9B}" presName="childNode" presStyleLbl="node1" presStyleIdx="14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421F27E-96A4-4D79-8328-553305583311}" type="pres">
      <dgm:prSet presAssocID="{342D9EBD-4B7F-44A4-9150-BE714A3EBB9B}" presName="aSpace2" presStyleCnt="0"/>
      <dgm:spPr/>
    </dgm:pt>
    <dgm:pt modelId="{6A3AA0FC-1FF9-4606-BBC6-4E448ABEE738}" type="pres">
      <dgm:prSet presAssocID="{FFAB2035-E760-4A01-BB85-1FA1D1DB9D20}" presName="childNode" presStyleLbl="node1" presStyleIdx="15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B777C08-520F-4F8A-874F-AC213E92D8F2}" srcId="{C8D1DF4E-F76E-4775-AC2E-EAEF193D879C}" destId="{2E8BE092-B1F9-42A3-ADFB-F77ED4CC551E}" srcOrd="3" destOrd="0" parTransId="{1178F785-3EF4-43AC-9853-6DB4F3903C2B}" sibTransId="{ADF141F0-3809-456E-AFFA-99AB7F27B272}"/>
    <dgm:cxn modelId="{652AAF99-A36B-4F61-BC1D-F8FFF1E59C53}" srcId="{C8D1DF4E-F76E-4775-AC2E-EAEF193D879C}" destId="{BDBA7DCC-355E-42BC-B284-3F5D9471A7FC}" srcOrd="1" destOrd="0" parTransId="{D0E8E3B7-9E67-48D5-B0EC-12AA0343685D}" sibTransId="{A28A997F-35C6-4261-AA6A-C8041A8141A4}"/>
    <dgm:cxn modelId="{6705CD58-E22D-4A7E-BCAC-E190B136AA93}" type="presOf" srcId="{BE02A524-FA54-4C20-BF4D-CDDA8305B91E}" destId="{3421998F-D017-48B1-A46C-C918645CF4F6}" srcOrd="0" destOrd="0" presId="urn:microsoft.com/office/officeart/2005/8/layout/lProcess2"/>
    <dgm:cxn modelId="{D8E17C84-1AFD-4E57-BC06-966DD9EA9B5F}" srcId="{F0108E75-13B6-4BB9-98DB-6382A7133F8A}" destId="{E41FB32D-DFC8-4A18-8A09-008D946B3DB7}" srcOrd="1" destOrd="0" parTransId="{EAA95D6C-AB5F-41B9-B8B6-1B4A85FDE03E}" sibTransId="{65C7A182-C857-47D8-9CD0-96CA5646ADBF}"/>
    <dgm:cxn modelId="{8602F9F5-E8CB-4019-8D5F-25BB9E93D55F}" srcId="{C8D1DF4E-F76E-4775-AC2E-EAEF193D879C}" destId="{FF08E916-6AAA-4FC8-9D98-59275C3CDE2D}" srcOrd="4" destOrd="0" parTransId="{9B9B4C58-3ED0-4EDF-B6C2-BEBEF09EC39E}" sibTransId="{3E8C6A1D-7C48-4066-B3EE-B6310E00E99F}"/>
    <dgm:cxn modelId="{DBEC2197-81CE-4093-A28A-BC5752780990}" type="presOf" srcId="{FFAB2035-E760-4A01-BB85-1FA1D1DB9D20}" destId="{6A3AA0FC-1FF9-4606-BBC6-4E448ABEE738}" srcOrd="0" destOrd="0" presId="urn:microsoft.com/office/officeart/2005/8/layout/lProcess2"/>
    <dgm:cxn modelId="{3848B005-C9FE-462E-B2A2-E891EC540D9D}" type="presOf" srcId="{F7A05865-4863-4C73-AEB7-1F3686C9813E}" destId="{017ED3EB-434C-4879-9E16-C1DB0BB383F3}" srcOrd="0" destOrd="0" presId="urn:microsoft.com/office/officeart/2005/8/layout/lProcess2"/>
    <dgm:cxn modelId="{E61049E7-FA11-4044-9912-5E4C290D2DF4}" srcId="{F0108E75-13B6-4BB9-98DB-6382A7133F8A}" destId="{6D51D20D-B4AA-44F5-8822-13432EF19F07}" srcOrd="0" destOrd="0" parTransId="{6D1AF599-65B3-4EFB-887D-3A02691FF537}" sibTransId="{87567CFA-1532-45FD-8F8C-829C0F91DB21}"/>
    <dgm:cxn modelId="{B4576730-E0F0-4111-BEF7-3E8A5A83C2C6}" srcId="{F7A05865-4863-4C73-AEB7-1F3686C9813E}" destId="{C8D1DF4E-F76E-4775-AC2E-EAEF193D879C}" srcOrd="0" destOrd="0" parTransId="{27784CF7-0B8E-4E9A-87B4-0D468D70B7C7}" sibTransId="{46EE1548-E2A5-43A8-91AB-28F620D324C4}"/>
    <dgm:cxn modelId="{A1BB8349-BF8E-47B3-84E8-2E2653CFE8A9}" type="presOf" srcId="{756476DC-3E65-44DB-8A8F-3D896E90178F}" destId="{E4D1FC4D-9158-4DC5-8CD1-A7624CA88DA3}" srcOrd="0" destOrd="0" presId="urn:microsoft.com/office/officeart/2005/8/layout/lProcess2"/>
    <dgm:cxn modelId="{636E18AE-47B8-40D2-9266-97DFFD6E6DDC}" type="presOf" srcId="{F0108E75-13B6-4BB9-98DB-6382A7133F8A}" destId="{C0A1013E-5C54-4332-AC7F-7A566ADDBA13}" srcOrd="1" destOrd="0" presId="urn:microsoft.com/office/officeart/2005/8/layout/lProcess2"/>
    <dgm:cxn modelId="{8999E2C3-81E2-49BE-8E74-E8F3D4CF9B5E}" type="presOf" srcId="{A2A31375-8212-4FC8-A6CA-ADE91BDC72A3}" destId="{0794044B-84A9-434B-B9FD-6F948D3C55AC}" srcOrd="1" destOrd="0" presId="urn:microsoft.com/office/officeart/2005/8/layout/lProcess2"/>
    <dgm:cxn modelId="{09818115-659C-4E8E-9DE1-3D5552AA7D12}" srcId="{F7A05865-4863-4C73-AEB7-1F3686C9813E}" destId="{F0108E75-13B6-4BB9-98DB-6382A7133F8A}" srcOrd="1" destOrd="0" parTransId="{BEE14D61-425C-4CD7-8F9F-668621C32397}" sibTransId="{6F07FF31-F8C0-4F9A-86CD-A31017B2B7BE}"/>
    <dgm:cxn modelId="{EA12E37C-1544-41D9-A6B0-AC1E9DD5E7AD}" type="presOf" srcId="{C8D1DF4E-F76E-4775-AC2E-EAEF193D879C}" destId="{84783A7C-174C-4261-AE35-B8F22E3EA6E7}" srcOrd="0" destOrd="0" presId="urn:microsoft.com/office/officeart/2005/8/layout/lProcess2"/>
    <dgm:cxn modelId="{AF9C37CA-27DF-4739-8C56-F10E523D5CA6}" type="presOf" srcId="{1EA22120-137D-4508-9421-76E451C32E56}" destId="{678406F9-0B84-4F67-A51F-439C0E97E476}" srcOrd="0" destOrd="0" presId="urn:microsoft.com/office/officeart/2005/8/layout/lProcess2"/>
    <dgm:cxn modelId="{D4DCA4C1-51CB-4613-AE6D-64A063B409B4}" srcId="{F0108E75-13B6-4BB9-98DB-6382A7133F8A}" destId="{756476DC-3E65-44DB-8A8F-3D896E90178F}" srcOrd="4" destOrd="0" parTransId="{DEFD2A94-B7A8-4E4E-8183-D69E3E9BD517}" sibTransId="{995F8215-43D1-4833-BD50-18D1FC1ECD4D}"/>
    <dgm:cxn modelId="{210DCFE7-5DCB-43C2-8630-686388248E86}" srcId="{C8D1DF4E-F76E-4775-AC2E-EAEF193D879C}" destId="{4C08D3EE-AF48-4937-BC8F-8B7D73E7564F}" srcOrd="0" destOrd="0" parTransId="{BE7A13B5-95D3-49E2-AD0E-C6BD94589B64}" sibTransId="{0C0033F7-1408-480E-A962-DA6804AC3052}"/>
    <dgm:cxn modelId="{AED9465C-1584-4760-A3C6-4BBBC90987C6}" type="presOf" srcId="{FF08E916-6AAA-4FC8-9D98-59275C3CDE2D}" destId="{7226CAA6-7B46-4760-BA96-6800727D20BB}" srcOrd="0" destOrd="0" presId="urn:microsoft.com/office/officeart/2005/8/layout/lProcess2"/>
    <dgm:cxn modelId="{5F3A5C00-D384-4D2D-BC1E-05C751A87ADF}" srcId="{A2A31375-8212-4FC8-A6CA-ADE91BDC72A3}" destId="{342D9EBD-4B7F-44A4-9150-BE714A3EBB9B}" srcOrd="2" destOrd="0" parTransId="{109938C5-6177-48C8-89EE-055B4CB478FE}" sibTransId="{107E72EE-E380-4F08-8619-362D7031B74E}"/>
    <dgm:cxn modelId="{FFFF0BF4-7684-4F5F-A92E-EB6714737B90}" type="presOf" srcId="{9FD7B6D0-C224-41F8-9146-53E9229D24E8}" destId="{96AE634F-D0EF-4A87-B26C-D55AE4DABB7D}" srcOrd="0" destOrd="0" presId="urn:microsoft.com/office/officeart/2005/8/layout/lProcess2"/>
    <dgm:cxn modelId="{929D714E-0C72-4A33-83FC-F82115B0A96F}" type="presOf" srcId="{FD6B0408-461F-49B9-87F8-569779FE2DC9}" destId="{FAAC9442-A6D1-4316-982F-23426466EC5A}" srcOrd="0" destOrd="0" presId="urn:microsoft.com/office/officeart/2005/8/layout/lProcess2"/>
    <dgm:cxn modelId="{6BDF64C2-32E9-409B-893A-5A111500CD1C}" type="presOf" srcId="{7DF58CA2-B76E-4D44-A56E-D7F77C52B8F7}" destId="{B86527D0-D365-4205-B1BB-E76B69F611FA}" srcOrd="0" destOrd="0" presId="urn:microsoft.com/office/officeart/2005/8/layout/lProcess2"/>
    <dgm:cxn modelId="{078B2CBB-0343-4224-A1E6-6B55DC77D44C}" srcId="{C8D1DF4E-F76E-4775-AC2E-EAEF193D879C}" destId="{1EA22120-137D-4508-9421-76E451C32E56}" srcOrd="2" destOrd="0" parTransId="{D27A61D1-A56F-4D58-A662-DA7A3EBB6F87}" sibTransId="{52CEA4AF-9DB1-4E9B-A353-792E3B412FD5}"/>
    <dgm:cxn modelId="{4DC93E54-141E-4898-9D46-AD17A1AE7232}" type="presOf" srcId="{F0108E75-13B6-4BB9-98DB-6382A7133F8A}" destId="{C2EA1DFA-A78A-4C5E-888D-B45ECBB7CFAC}" srcOrd="0" destOrd="0" presId="urn:microsoft.com/office/officeart/2005/8/layout/lProcess2"/>
    <dgm:cxn modelId="{78204DFB-683C-4531-93B5-45CB0E83154D}" srcId="{A2A31375-8212-4FC8-A6CA-ADE91BDC72A3}" destId="{484953EE-E5A0-44A7-8692-8227D98F11A4}" srcOrd="0" destOrd="0" parTransId="{A88C6C2F-6D43-4FC5-9982-77091252F772}" sibTransId="{30EB5B96-DE6C-4B83-BF0B-269D100AD782}"/>
    <dgm:cxn modelId="{305A8E8D-5B5E-439A-B04C-ADF4910C6412}" srcId="{F0108E75-13B6-4BB9-98DB-6382A7133F8A}" destId="{BE02A524-FA54-4C20-BF4D-CDDA8305B91E}" srcOrd="2" destOrd="0" parTransId="{AC91A558-5C99-444A-817C-201E6995243C}" sibTransId="{A9019DF0-4843-4E34-93DA-7FB33755FFB0}"/>
    <dgm:cxn modelId="{FCB1CA40-52C4-4856-B4D5-81CF0639413A}" type="presOf" srcId="{C8D1DF4E-F76E-4775-AC2E-EAEF193D879C}" destId="{C42D8985-E4C5-4A8E-BDB8-9FE9459935F5}" srcOrd="1" destOrd="0" presId="urn:microsoft.com/office/officeart/2005/8/layout/lProcess2"/>
    <dgm:cxn modelId="{B36C5DCF-7397-4E14-9577-DE1D2C26E559}" type="presOf" srcId="{A2A31375-8212-4FC8-A6CA-ADE91BDC72A3}" destId="{2B77E2F5-1346-4034-87BA-2480C596A284}" srcOrd="0" destOrd="0" presId="urn:microsoft.com/office/officeart/2005/8/layout/lProcess2"/>
    <dgm:cxn modelId="{AA628416-B5BF-46F7-9D27-2F733E6BD791}" srcId="{A2A31375-8212-4FC8-A6CA-ADE91BDC72A3}" destId="{7DF58CA2-B76E-4D44-A56E-D7F77C52B8F7}" srcOrd="1" destOrd="0" parTransId="{2EB43E07-B036-4005-9031-E3289908DF15}" sibTransId="{B170C848-088D-4E88-9BB2-76F4172E0DAF}"/>
    <dgm:cxn modelId="{618D3238-685B-4915-BD20-EAFDA312A80A}" type="presOf" srcId="{4DA59F50-A082-40D7-A2F6-C258B17EF694}" destId="{4EACF501-C421-43C7-9F55-E744C605193E}" srcOrd="0" destOrd="0" presId="urn:microsoft.com/office/officeart/2005/8/layout/lProcess2"/>
    <dgm:cxn modelId="{A4E6E17A-773C-44C8-91FC-6DF174816FFC}" srcId="{F7A05865-4863-4C73-AEB7-1F3686C9813E}" destId="{A2A31375-8212-4FC8-A6CA-ADE91BDC72A3}" srcOrd="2" destOrd="0" parTransId="{48D17C35-CF22-44BD-9337-0AA72AEE5911}" sibTransId="{ECA74A52-D464-429F-8EC4-6E3B99D438B0}"/>
    <dgm:cxn modelId="{ED71310A-A558-48FF-B91A-CB85DCA582D4}" type="presOf" srcId="{BDBA7DCC-355E-42BC-B284-3F5D9471A7FC}" destId="{B215B456-D685-4ACC-808E-CC2B8DB5E036}" srcOrd="0" destOrd="0" presId="urn:microsoft.com/office/officeart/2005/8/layout/lProcess2"/>
    <dgm:cxn modelId="{78600050-A6AB-4002-B03B-8A34355C7F01}" srcId="{F0108E75-13B6-4BB9-98DB-6382A7133F8A}" destId="{FD6B0408-461F-49B9-87F8-569779FE2DC9}" srcOrd="5" destOrd="0" parTransId="{503CF6FF-B035-4FF2-AD9F-38B4BB570206}" sibTransId="{6D751CA7-999D-4253-83F5-C1C38F75A96A}"/>
    <dgm:cxn modelId="{8BC8DFC7-0ECE-4C9E-ABBA-A5B8D85082EA}" type="presOf" srcId="{6D51D20D-B4AA-44F5-8822-13432EF19F07}" destId="{09F78D94-8018-4C8F-A097-38351F4D6FE0}" srcOrd="0" destOrd="0" presId="urn:microsoft.com/office/officeart/2005/8/layout/lProcess2"/>
    <dgm:cxn modelId="{A5E7F2B1-0986-462B-9CD2-98F0FC5A17CA}" type="presOf" srcId="{484953EE-E5A0-44A7-8692-8227D98F11A4}" destId="{7744BB61-1AC4-44F0-AFFE-ED763612E2C0}" srcOrd="0" destOrd="0" presId="urn:microsoft.com/office/officeart/2005/8/layout/lProcess2"/>
    <dgm:cxn modelId="{881128C8-73DB-4D90-AB60-1C88B9C2BFF7}" type="presOf" srcId="{342D9EBD-4B7F-44A4-9150-BE714A3EBB9B}" destId="{261C7135-9109-4506-8608-DB28763C6FFF}" srcOrd="0" destOrd="0" presId="urn:microsoft.com/office/officeart/2005/8/layout/lProcess2"/>
    <dgm:cxn modelId="{0984AEB3-CCE5-4999-BBA1-B5D15AA9DCF3}" srcId="{C8D1DF4E-F76E-4775-AC2E-EAEF193D879C}" destId="{9FD7B6D0-C224-41F8-9146-53E9229D24E8}" srcOrd="5" destOrd="0" parTransId="{BF359DC8-4B4B-41BD-851D-5CFEEDDC9F32}" sibTransId="{CA0496DD-6775-4178-A5CD-F47FA9DC521A}"/>
    <dgm:cxn modelId="{B154DDA0-898D-411E-B2FB-CBFB355FFC50}" type="presOf" srcId="{E41FB32D-DFC8-4A18-8A09-008D946B3DB7}" destId="{01D89F89-A9EA-437C-8CA9-FDCBE0105536}" srcOrd="0" destOrd="0" presId="urn:microsoft.com/office/officeart/2005/8/layout/lProcess2"/>
    <dgm:cxn modelId="{34A9BEC2-5006-4CCC-B99A-A4E0F62AB304}" srcId="{A2A31375-8212-4FC8-A6CA-ADE91BDC72A3}" destId="{FFAB2035-E760-4A01-BB85-1FA1D1DB9D20}" srcOrd="3" destOrd="0" parTransId="{D88E3348-702E-4821-8AA6-DE7CF46A943F}" sibTransId="{BE0BF798-7E9C-44FD-BF64-BAF63FD57A26}"/>
    <dgm:cxn modelId="{5D56DF2B-C7A0-4635-82DD-BA36942C874C}" type="presOf" srcId="{2E8BE092-B1F9-42A3-ADFB-F77ED4CC551E}" destId="{381FC751-3918-433C-AF88-8FD7E3F99930}" srcOrd="0" destOrd="0" presId="urn:microsoft.com/office/officeart/2005/8/layout/lProcess2"/>
    <dgm:cxn modelId="{0A3A4113-AF90-439A-80A3-E4FEDA9F957C}" srcId="{F0108E75-13B6-4BB9-98DB-6382A7133F8A}" destId="{4DA59F50-A082-40D7-A2F6-C258B17EF694}" srcOrd="3" destOrd="0" parTransId="{57F79E7C-5701-449C-BC7E-33AC44EFEEEA}" sibTransId="{30E00DDC-2B6B-4054-91A1-A4691DAA0BF8}"/>
    <dgm:cxn modelId="{8F0253AF-BC11-49BF-B139-7D720A3E2C22}" type="presOf" srcId="{4C08D3EE-AF48-4937-BC8F-8B7D73E7564F}" destId="{142ACBD7-E1A2-4A0F-AB9F-C5D4F72ED833}" srcOrd="0" destOrd="0" presId="urn:microsoft.com/office/officeart/2005/8/layout/lProcess2"/>
    <dgm:cxn modelId="{78D90E38-7697-4087-9B97-1EAA498719D2}" type="presParOf" srcId="{017ED3EB-434C-4879-9E16-C1DB0BB383F3}" destId="{F9940B1C-7214-448A-ADB3-A6366EFE01F0}" srcOrd="0" destOrd="0" presId="urn:microsoft.com/office/officeart/2005/8/layout/lProcess2"/>
    <dgm:cxn modelId="{536FDFBB-DAD2-47D4-BA92-A43F822B2DAE}" type="presParOf" srcId="{F9940B1C-7214-448A-ADB3-A6366EFE01F0}" destId="{84783A7C-174C-4261-AE35-B8F22E3EA6E7}" srcOrd="0" destOrd="0" presId="urn:microsoft.com/office/officeart/2005/8/layout/lProcess2"/>
    <dgm:cxn modelId="{3D2B8898-ACFC-495F-BD41-925A5736A968}" type="presParOf" srcId="{F9940B1C-7214-448A-ADB3-A6366EFE01F0}" destId="{C42D8985-E4C5-4A8E-BDB8-9FE9459935F5}" srcOrd="1" destOrd="0" presId="urn:microsoft.com/office/officeart/2005/8/layout/lProcess2"/>
    <dgm:cxn modelId="{8B48A1A7-9CE4-441E-AB58-E3E819897894}" type="presParOf" srcId="{F9940B1C-7214-448A-ADB3-A6366EFE01F0}" destId="{AECC9E06-2444-4043-8888-E611D91F98C0}" srcOrd="2" destOrd="0" presId="urn:microsoft.com/office/officeart/2005/8/layout/lProcess2"/>
    <dgm:cxn modelId="{3E454896-340C-49F6-9978-0F8DA887D149}" type="presParOf" srcId="{AECC9E06-2444-4043-8888-E611D91F98C0}" destId="{06AD285C-38C6-4CBD-9D79-BF2E1420E11D}" srcOrd="0" destOrd="0" presId="urn:microsoft.com/office/officeart/2005/8/layout/lProcess2"/>
    <dgm:cxn modelId="{5C4BB386-9336-4CBE-85BC-381A40802E0E}" type="presParOf" srcId="{06AD285C-38C6-4CBD-9D79-BF2E1420E11D}" destId="{142ACBD7-E1A2-4A0F-AB9F-C5D4F72ED833}" srcOrd="0" destOrd="0" presId="urn:microsoft.com/office/officeart/2005/8/layout/lProcess2"/>
    <dgm:cxn modelId="{77D15526-4B2C-4274-B8D7-DA133B4277BD}" type="presParOf" srcId="{06AD285C-38C6-4CBD-9D79-BF2E1420E11D}" destId="{B179C6B7-0A64-4330-81A9-157198A14982}" srcOrd="1" destOrd="0" presId="urn:microsoft.com/office/officeart/2005/8/layout/lProcess2"/>
    <dgm:cxn modelId="{2AE66318-42D9-42B6-9074-488E02595B45}" type="presParOf" srcId="{06AD285C-38C6-4CBD-9D79-BF2E1420E11D}" destId="{B215B456-D685-4ACC-808E-CC2B8DB5E036}" srcOrd="2" destOrd="0" presId="urn:microsoft.com/office/officeart/2005/8/layout/lProcess2"/>
    <dgm:cxn modelId="{735511CF-9E5E-4915-801A-3BE231E72F79}" type="presParOf" srcId="{06AD285C-38C6-4CBD-9D79-BF2E1420E11D}" destId="{81D56F3A-95A9-4371-8C21-60728FFC1562}" srcOrd="3" destOrd="0" presId="urn:microsoft.com/office/officeart/2005/8/layout/lProcess2"/>
    <dgm:cxn modelId="{D1784CB4-694F-4593-804E-E839E56BDD45}" type="presParOf" srcId="{06AD285C-38C6-4CBD-9D79-BF2E1420E11D}" destId="{678406F9-0B84-4F67-A51F-439C0E97E476}" srcOrd="4" destOrd="0" presId="urn:microsoft.com/office/officeart/2005/8/layout/lProcess2"/>
    <dgm:cxn modelId="{75BC17EE-4BEA-4A85-A17E-5A48BC49E6F4}" type="presParOf" srcId="{06AD285C-38C6-4CBD-9D79-BF2E1420E11D}" destId="{ABB58694-071C-463B-AB80-8EEF5B6633EF}" srcOrd="5" destOrd="0" presId="urn:microsoft.com/office/officeart/2005/8/layout/lProcess2"/>
    <dgm:cxn modelId="{CF11126D-7B98-4EE5-8EE8-A5B3EC978928}" type="presParOf" srcId="{06AD285C-38C6-4CBD-9D79-BF2E1420E11D}" destId="{381FC751-3918-433C-AF88-8FD7E3F99930}" srcOrd="6" destOrd="0" presId="urn:microsoft.com/office/officeart/2005/8/layout/lProcess2"/>
    <dgm:cxn modelId="{664381F7-B9A8-4433-90BF-FD0407E12AE1}" type="presParOf" srcId="{06AD285C-38C6-4CBD-9D79-BF2E1420E11D}" destId="{6CA5175C-BC88-4A26-96A7-7647E61EEEED}" srcOrd="7" destOrd="0" presId="urn:microsoft.com/office/officeart/2005/8/layout/lProcess2"/>
    <dgm:cxn modelId="{7E872A53-8BDF-4CE9-BA2B-D7A2A0525A59}" type="presParOf" srcId="{06AD285C-38C6-4CBD-9D79-BF2E1420E11D}" destId="{7226CAA6-7B46-4760-BA96-6800727D20BB}" srcOrd="8" destOrd="0" presId="urn:microsoft.com/office/officeart/2005/8/layout/lProcess2"/>
    <dgm:cxn modelId="{EC2FB4F6-F299-446A-B5C3-C973BB9EE499}" type="presParOf" srcId="{06AD285C-38C6-4CBD-9D79-BF2E1420E11D}" destId="{51347E5A-8196-42F3-A876-A5980FE5E2C2}" srcOrd="9" destOrd="0" presId="urn:microsoft.com/office/officeart/2005/8/layout/lProcess2"/>
    <dgm:cxn modelId="{F463333A-9213-4C24-872F-5640E25FEDAB}" type="presParOf" srcId="{06AD285C-38C6-4CBD-9D79-BF2E1420E11D}" destId="{96AE634F-D0EF-4A87-B26C-D55AE4DABB7D}" srcOrd="10" destOrd="0" presId="urn:microsoft.com/office/officeart/2005/8/layout/lProcess2"/>
    <dgm:cxn modelId="{3534CA3D-BB0B-4085-A52C-B9E6131AEF76}" type="presParOf" srcId="{017ED3EB-434C-4879-9E16-C1DB0BB383F3}" destId="{85117D5B-7CD6-4B7E-83CE-D3CAAD23C803}" srcOrd="1" destOrd="0" presId="urn:microsoft.com/office/officeart/2005/8/layout/lProcess2"/>
    <dgm:cxn modelId="{2C43AA39-44A3-46CB-BF89-4CFFEE5510D7}" type="presParOf" srcId="{017ED3EB-434C-4879-9E16-C1DB0BB383F3}" destId="{A8FF5C23-94C5-4D84-A2E1-598B2226AD02}" srcOrd="2" destOrd="0" presId="urn:microsoft.com/office/officeart/2005/8/layout/lProcess2"/>
    <dgm:cxn modelId="{278661C6-160D-47B9-B506-9FF152CA3A51}" type="presParOf" srcId="{A8FF5C23-94C5-4D84-A2E1-598B2226AD02}" destId="{C2EA1DFA-A78A-4C5E-888D-B45ECBB7CFAC}" srcOrd="0" destOrd="0" presId="urn:microsoft.com/office/officeart/2005/8/layout/lProcess2"/>
    <dgm:cxn modelId="{0179E4CA-2424-49A0-9BF9-C2E3A553F517}" type="presParOf" srcId="{A8FF5C23-94C5-4D84-A2E1-598B2226AD02}" destId="{C0A1013E-5C54-4332-AC7F-7A566ADDBA13}" srcOrd="1" destOrd="0" presId="urn:microsoft.com/office/officeart/2005/8/layout/lProcess2"/>
    <dgm:cxn modelId="{0462EA0B-CC79-4DAD-BAB9-0009D466901A}" type="presParOf" srcId="{A8FF5C23-94C5-4D84-A2E1-598B2226AD02}" destId="{1B90FDEF-0DFD-4317-B912-772FCCFF619C}" srcOrd="2" destOrd="0" presId="urn:microsoft.com/office/officeart/2005/8/layout/lProcess2"/>
    <dgm:cxn modelId="{295018FD-FA16-4334-AF0E-34DF5EDB8F01}" type="presParOf" srcId="{1B90FDEF-0DFD-4317-B912-772FCCFF619C}" destId="{3D9AA508-F5D2-4126-B3B3-09389B11F500}" srcOrd="0" destOrd="0" presId="urn:microsoft.com/office/officeart/2005/8/layout/lProcess2"/>
    <dgm:cxn modelId="{1EDF3488-183C-417B-B5FE-1B3324670721}" type="presParOf" srcId="{3D9AA508-F5D2-4126-B3B3-09389B11F500}" destId="{09F78D94-8018-4C8F-A097-38351F4D6FE0}" srcOrd="0" destOrd="0" presId="urn:microsoft.com/office/officeart/2005/8/layout/lProcess2"/>
    <dgm:cxn modelId="{BD6B7A92-2A4A-4CC2-92FB-B685306EFC0F}" type="presParOf" srcId="{3D9AA508-F5D2-4126-B3B3-09389B11F500}" destId="{F54DA71C-91A0-4F54-A08F-934591128E76}" srcOrd="1" destOrd="0" presId="urn:microsoft.com/office/officeart/2005/8/layout/lProcess2"/>
    <dgm:cxn modelId="{22583A0A-7305-44B0-81F9-E04440E82CBD}" type="presParOf" srcId="{3D9AA508-F5D2-4126-B3B3-09389B11F500}" destId="{01D89F89-A9EA-437C-8CA9-FDCBE0105536}" srcOrd="2" destOrd="0" presId="urn:microsoft.com/office/officeart/2005/8/layout/lProcess2"/>
    <dgm:cxn modelId="{775DA094-17EF-4872-95A5-248BF59939E8}" type="presParOf" srcId="{3D9AA508-F5D2-4126-B3B3-09389B11F500}" destId="{F7D52189-C9F3-4CCA-98E3-5988EC29B8CA}" srcOrd="3" destOrd="0" presId="urn:microsoft.com/office/officeart/2005/8/layout/lProcess2"/>
    <dgm:cxn modelId="{431B6D84-3283-4C02-B3FD-651F0A1E912D}" type="presParOf" srcId="{3D9AA508-F5D2-4126-B3B3-09389B11F500}" destId="{3421998F-D017-48B1-A46C-C918645CF4F6}" srcOrd="4" destOrd="0" presId="urn:microsoft.com/office/officeart/2005/8/layout/lProcess2"/>
    <dgm:cxn modelId="{C57F6C52-3659-4E81-B1E7-412330908058}" type="presParOf" srcId="{3D9AA508-F5D2-4126-B3B3-09389B11F500}" destId="{C4209A70-989D-4E79-8C3D-A52590BAD9EA}" srcOrd="5" destOrd="0" presId="urn:microsoft.com/office/officeart/2005/8/layout/lProcess2"/>
    <dgm:cxn modelId="{B53312B7-096A-48FC-B664-708220D88EC8}" type="presParOf" srcId="{3D9AA508-F5D2-4126-B3B3-09389B11F500}" destId="{4EACF501-C421-43C7-9F55-E744C605193E}" srcOrd="6" destOrd="0" presId="urn:microsoft.com/office/officeart/2005/8/layout/lProcess2"/>
    <dgm:cxn modelId="{9474F521-78EF-43AA-8810-8E851B5E302C}" type="presParOf" srcId="{3D9AA508-F5D2-4126-B3B3-09389B11F500}" destId="{34391942-FA04-4F18-AE50-A6901D06435C}" srcOrd="7" destOrd="0" presId="urn:microsoft.com/office/officeart/2005/8/layout/lProcess2"/>
    <dgm:cxn modelId="{58560867-E11F-497B-876D-D1C28EB79361}" type="presParOf" srcId="{3D9AA508-F5D2-4126-B3B3-09389B11F500}" destId="{E4D1FC4D-9158-4DC5-8CD1-A7624CA88DA3}" srcOrd="8" destOrd="0" presId="urn:microsoft.com/office/officeart/2005/8/layout/lProcess2"/>
    <dgm:cxn modelId="{78AE6C37-F684-4744-A8FE-7CBE9CCEC180}" type="presParOf" srcId="{3D9AA508-F5D2-4126-B3B3-09389B11F500}" destId="{72D9616B-87E1-425A-8055-C858699F95A0}" srcOrd="9" destOrd="0" presId="urn:microsoft.com/office/officeart/2005/8/layout/lProcess2"/>
    <dgm:cxn modelId="{BDE7E321-9502-4C28-94EC-CE9796D673F6}" type="presParOf" srcId="{3D9AA508-F5D2-4126-B3B3-09389B11F500}" destId="{FAAC9442-A6D1-4316-982F-23426466EC5A}" srcOrd="10" destOrd="0" presId="urn:microsoft.com/office/officeart/2005/8/layout/lProcess2"/>
    <dgm:cxn modelId="{9B831156-D180-408D-8B55-328A12354F4A}" type="presParOf" srcId="{017ED3EB-434C-4879-9E16-C1DB0BB383F3}" destId="{8C29A7BF-2CCE-419E-AD4B-14086258066B}" srcOrd="3" destOrd="0" presId="urn:microsoft.com/office/officeart/2005/8/layout/lProcess2"/>
    <dgm:cxn modelId="{44B765DD-DF05-4AF3-B243-4C11F491DFF2}" type="presParOf" srcId="{017ED3EB-434C-4879-9E16-C1DB0BB383F3}" destId="{F98B1017-9F6D-40A7-8FCA-0610B7F56C31}" srcOrd="4" destOrd="0" presId="urn:microsoft.com/office/officeart/2005/8/layout/lProcess2"/>
    <dgm:cxn modelId="{A8032F60-95B4-4CE5-8F53-14793FF4AD9E}" type="presParOf" srcId="{F98B1017-9F6D-40A7-8FCA-0610B7F56C31}" destId="{2B77E2F5-1346-4034-87BA-2480C596A284}" srcOrd="0" destOrd="0" presId="urn:microsoft.com/office/officeart/2005/8/layout/lProcess2"/>
    <dgm:cxn modelId="{E5DA3D0B-9FF1-4845-B9DC-3E7CC762561D}" type="presParOf" srcId="{F98B1017-9F6D-40A7-8FCA-0610B7F56C31}" destId="{0794044B-84A9-434B-B9FD-6F948D3C55AC}" srcOrd="1" destOrd="0" presId="urn:microsoft.com/office/officeart/2005/8/layout/lProcess2"/>
    <dgm:cxn modelId="{DADA6BC9-10DC-42DB-B08D-6FC9259233D4}" type="presParOf" srcId="{F98B1017-9F6D-40A7-8FCA-0610B7F56C31}" destId="{7C268240-623B-4AD2-AE7F-21B3AF33FD56}" srcOrd="2" destOrd="0" presId="urn:microsoft.com/office/officeart/2005/8/layout/lProcess2"/>
    <dgm:cxn modelId="{9824CCFF-9293-4864-993C-750D14FC77EA}" type="presParOf" srcId="{7C268240-623B-4AD2-AE7F-21B3AF33FD56}" destId="{76F237F9-02D2-4C66-978F-C26114E9EA05}" srcOrd="0" destOrd="0" presId="urn:microsoft.com/office/officeart/2005/8/layout/lProcess2"/>
    <dgm:cxn modelId="{56349082-0A4E-4505-AD00-6D76FC844E37}" type="presParOf" srcId="{76F237F9-02D2-4C66-978F-C26114E9EA05}" destId="{7744BB61-1AC4-44F0-AFFE-ED763612E2C0}" srcOrd="0" destOrd="0" presId="urn:microsoft.com/office/officeart/2005/8/layout/lProcess2"/>
    <dgm:cxn modelId="{21365C85-04A5-4A5D-BB4B-D87579A58BD0}" type="presParOf" srcId="{76F237F9-02D2-4C66-978F-C26114E9EA05}" destId="{CC88062C-0E5C-4D04-BD39-3E8AD91E48EF}" srcOrd="1" destOrd="0" presId="urn:microsoft.com/office/officeart/2005/8/layout/lProcess2"/>
    <dgm:cxn modelId="{9C93F1A5-19FE-4D5E-A8F5-503D889F10D4}" type="presParOf" srcId="{76F237F9-02D2-4C66-978F-C26114E9EA05}" destId="{B86527D0-D365-4205-B1BB-E76B69F611FA}" srcOrd="2" destOrd="0" presId="urn:microsoft.com/office/officeart/2005/8/layout/lProcess2"/>
    <dgm:cxn modelId="{10C1DC26-70E3-46E3-9013-4D381972D279}" type="presParOf" srcId="{76F237F9-02D2-4C66-978F-C26114E9EA05}" destId="{5A67BAFE-24F4-4B9C-8F8D-6D01489DB90D}" srcOrd="3" destOrd="0" presId="urn:microsoft.com/office/officeart/2005/8/layout/lProcess2"/>
    <dgm:cxn modelId="{EFF2D943-D164-449A-B96E-9E7820E5BBDB}" type="presParOf" srcId="{76F237F9-02D2-4C66-978F-C26114E9EA05}" destId="{261C7135-9109-4506-8608-DB28763C6FFF}" srcOrd="4" destOrd="0" presId="urn:microsoft.com/office/officeart/2005/8/layout/lProcess2"/>
    <dgm:cxn modelId="{3DBF874A-A995-43BE-ACCD-744A30FD2EB3}" type="presParOf" srcId="{76F237F9-02D2-4C66-978F-C26114E9EA05}" destId="{F421F27E-96A4-4D79-8328-553305583311}" srcOrd="5" destOrd="0" presId="urn:microsoft.com/office/officeart/2005/8/layout/lProcess2"/>
    <dgm:cxn modelId="{F3BAED4F-2725-4B62-9E62-1D32AC1E2F7C}" type="presParOf" srcId="{76F237F9-02D2-4C66-978F-C26114E9EA05}" destId="{6A3AA0FC-1FF9-4606-BBC6-4E448ABEE738}" srcOrd="6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26E1133-27F8-42A1-91FE-23383B9ACC99}" type="doc">
      <dgm:prSet loTypeId="urn:microsoft.com/office/officeart/2005/8/layout/orgChart1" loCatId="hierarchy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3BDC9E6-B3ED-4E11-B81F-A36F96CA06AD}">
      <dgm:prSet custT="1"/>
      <dgm:spPr/>
      <dgm:t>
        <a:bodyPr/>
        <a:lstStyle/>
        <a:p>
          <a:pPr rtl="0"/>
          <a:r>
            <a:rPr lang="en-US" sz="2000" dirty="0" smtClean="0"/>
            <a:t>Availability</a:t>
          </a:r>
          <a:endParaRPr lang="en-US" sz="2000" dirty="0"/>
        </a:p>
      </dgm:t>
    </dgm:pt>
    <dgm:pt modelId="{818B4425-229C-4D05-BD73-F2583AB7B9C5}" type="parTrans" cxnId="{E040E2E2-F016-4F82-9927-EA3D62DA0F57}">
      <dgm:prSet/>
      <dgm:spPr/>
      <dgm:t>
        <a:bodyPr/>
        <a:lstStyle/>
        <a:p>
          <a:endParaRPr lang="en-US" sz="2000"/>
        </a:p>
      </dgm:t>
    </dgm:pt>
    <dgm:pt modelId="{A3D2AA9D-1D2C-45CA-9A99-0FD9E343747F}" type="sibTrans" cxnId="{E040E2E2-F016-4F82-9927-EA3D62DA0F57}">
      <dgm:prSet/>
      <dgm:spPr/>
      <dgm:t>
        <a:bodyPr/>
        <a:lstStyle/>
        <a:p>
          <a:endParaRPr lang="en-US" sz="2000"/>
        </a:p>
      </dgm:t>
    </dgm:pt>
    <dgm:pt modelId="{843E3B21-DC9F-4CF8-A7F1-93BF704E47A7}">
      <dgm:prSet custT="1"/>
      <dgm:spPr/>
      <dgm:t>
        <a:bodyPr/>
        <a:lstStyle/>
        <a:p>
          <a:pPr rtl="0"/>
          <a:r>
            <a:rPr lang="en-US" sz="1800" dirty="0" smtClean="0"/>
            <a:t>Fault detection</a:t>
          </a:r>
          <a:endParaRPr lang="en-US" sz="1800" dirty="0"/>
        </a:p>
      </dgm:t>
    </dgm:pt>
    <dgm:pt modelId="{3EEFE082-C4FA-499A-BA01-E4B8217A4B73}" type="parTrans" cxnId="{3C110BFF-FD87-473E-9985-0D9D761E60BD}">
      <dgm:prSet/>
      <dgm:spPr/>
      <dgm:t>
        <a:bodyPr/>
        <a:lstStyle/>
        <a:p>
          <a:endParaRPr lang="en-US" sz="2000"/>
        </a:p>
      </dgm:t>
    </dgm:pt>
    <dgm:pt modelId="{2992CB8F-FBF4-486F-BE86-7AEC96D28238}" type="sibTrans" cxnId="{3C110BFF-FD87-473E-9985-0D9D761E60BD}">
      <dgm:prSet/>
      <dgm:spPr/>
      <dgm:t>
        <a:bodyPr/>
        <a:lstStyle/>
        <a:p>
          <a:endParaRPr lang="en-US" sz="2000"/>
        </a:p>
      </dgm:t>
    </dgm:pt>
    <dgm:pt modelId="{A240A1E1-162D-4A6E-A806-B6FF45B3AB68}">
      <dgm:prSet custT="1"/>
      <dgm:spPr/>
      <dgm:t>
        <a:bodyPr/>
        <a:lstStyle/>
        <a:p>
          <a:pPr rtl="0"/>
          <a:r>
            <a:rPr lang="en-US" sz="1600" dirty="0" smtClean="0"/>
            <a:t>Shadow operation</a:t>
          </a:r>
          <a:endParaRPr lang="en-US" sz="1600" dirty="0"/>
        </a:p>
      </dgm:t>
    </dgm:pt>
    <dgm:pt modelId="{F0BD47AB-7AC9-40A2-A96D-1A911EFDE7FF}" type="parTrans" cxnId="{CCB5AE26-70F4-4C5B-B53D-136E39A12AC5}">
      <dgm:prSet/>
      <dgm:spPr/>
      <dgm:t>
        <a:bodyPr/>
        <a:lstStyle/>
        <a:p>
          <a:endParaRPr lang="en-US" sz="2000"/>
        </a:p>
      </dgm:t>
    </dgm:pt>
    <dgm:pt modelId="{A12D77FB-8453-4F78-A007-65AD68966259}" type="sibTrans" cxnId="{CCB5AE26-70F4-4C5B-B53D-136E39A12AC5}">
      <dgm:prSet/>
      <dgm:spPr/>
      <dgm:t>
        <a:bodyPr/>
        <a:lstStyle/>
        <a:p>
          <a:endParaRPr lang="en-US" sz="2000"/>
        </a:p>
      </dgm:t>
    </dgm:pt>
    <dgm:pt modelId="{C35FC96E-9015-4790-BDC3-6E0D4D502FCB}">
      <dgm:prSet custT="1"/>
      <dgm:spPr/>
      <dgm:t>
        <a:bodyPr/>
        <a:lstStyle/>
        <a:p>
          <a:pPr rtl="0"/>
          <a:r>
            <a:rPr lang="en-US" sz="1800" dirty="0" smtClean="0"/>
            <a:t>Failure prevention</a:t>
          </a:r>
          <a:endParaRPr lang="en-US" sz="1800" dirty="0"/>
        </a:p>
      </dgm:t>
    </dgm:pt>
    <dgm:pt modelId="{54165FB5-F7A3-4BBF-B199-2BE2BA410DE8}" type="parTrans" cxnId="{C159F786-ED38-476E-9CAF-598C4BA6A40C}">
      <dgm:prSet/>
      <dgm:spPr/>
      <dgm:t>
        <a:bodyPr/>
        <a:lstStyle/>
        <a:p>
          <a:endParaRPr lang="en-US" sz="2000"/>
        </a:p>
      </dgm:t>
    </dgm:pt>
    <dgm:pt modelId="{599E3296-C316-405C-B222-CEA737D995B5}" type="sibTrans" cxnId="{C159F786-ED38-476E-9CAF-598C4BA6A40C}">
      <dgm:prSet/>
      <dgm:spPr/>
      <dgm:t>
        <a:bodyPr/>
        <a:lstStyle/>
        <a:p>
          <a:endParaRPr lang="en-US" sz="2000"/>
        </a:p>
      </dgm:t>
    </dgm:pt>
    <dgm:pt modelId="{AFCA2418-8D6B-4E9C-BE52-FC74C908050F}">
      <dgm:prSet custT="1"/>
      <dgm:spPr/>
      <dgm:t>
        <a:bodyPr/>
        <a:lstStyle/>
        <a:p>
          <a:pPr rtl="0"/>
          <a:r>
            <a:rPr lang="en-US" sz="1600" b="0" u="none" dirty="0" smtClean="0"/>
            <a:t>Removal of a component to prevent anticipated failure– auto/manual reboot</a:t>
          </a:r>
          <a:endParaRPr lang="en-US" sz="1600" b="0" u="none" dirty="0"/>
        </a:p>
      </dgm:t>
    </dgm:pt>
    <dgm:pt modelId="{4E25AF54-5C18-4905-8913-7D1EA2AC6905}" type="parTrans" cxnId="{482DB792-4616-4429-8146-834A4E403FCA}">
      <dgm:prSet/>
      <dgm:spPr/>
      <dgm:t>
        <a:bodyPr/>
        <a:lstStyle/>
        <a:p>
          <a:endParaRPr lang="en-US" sz="2000"/>
        </a:p>
      </dgm:t>
    </dgm:pt>
    <dgm:pt modelId="{2863A287-FD1D-46AB-958E-D6DB7D840902}" type="sibTrans" cxnId="{482DB792-4616-4429-8146-834A4E403FCA}">
      <dgm:prSet/>
      <dgm:spPr/>
      <dgm:t>
        <a:bodyPr/>
        <a:lstStyle/>
        <a:p>
          <a:endParaRPr lang="en-US" sz="2000"/>
        </a:p>
      </dgm:t>
    </dgm:pt>
    <dgm:pt modelId="{E420C67E-C4C2-476B-9B47-FFB47D587009}">
      <dgm:prSet custT="1"/>
      <dgm:spPr/>
      <dgm:t>
        <a:bodyPr/>
        <a:lstStyle/>
        <a:p>
          <a:pPr rtl="0"/>
          <a:r>
            <a:rPr lang="en-US" sz="1800" dirty="0" smtClean="0"/>
            <a:t>Recovery by repair</a:t>
          </a:r>
          <a:endParaRPr lang="en-US" sz="1800" dirty="0"/>
        </a:p>
      </dgm:t>
    </dgm:pt>
    <dgm:pt modelId="{65D088B7-B36E-49AA-84B9-2BC51B326EA1}" type="parTrans" cxnId="{2AC6A1A2-FDAF-4C07-BF93-78DC05214544}">
      <dgm:prSet/>
      <dgm:spPr/>
      <dgm:t>
        <a:bodyPr/>
        <a:lstStyle/>
        <a:p>
          <a:endParaRPr lang="en-US"/>
        </a:p>
      </dgm:t>
    </dgm:pt>
    <dgm:pt modelId="{7CC715FB-928E-4CFE-A8F5-045F16B2D743}" type="sibTrans" cxnId="{2AC6A1A2-FDAF-4C07-BF93-78DC05214544}">
      <dgm:prSet/>
      <dgm:spPr/>
      <dgm:t>
        <a:bodyPr/>
        <a:lstStyle/>
        <a:p>
          <a:endParaRPr lang="en-US"/>
        </a:p>
      </dgm:t>
    </dgm:pt>
    <dgm:pt modelId="{1CE2D78B-C788-472A-8424-7F9A4AB5205E}">
      <dgm:prSet custT="1"/>
      <dgm:spPr/>
      <dgm:t>
        <a:bodyPr/>
        <a:lstStyle/>
        <a:p>
          <a:pPr rtl="0"/>
          <a:r>
            <a:rPr lang="en-US" sz="1800" dirty="0" smtClean="0"/>
            <a:t>Recovery by reintroduction</a:t>
          </a:r>
          <a:endParaRPr lang="en-US" sz="1800" dirty="0"/>
        </a:p>
      </dgm:t>
    </dgm:pt>
    <dgm:pt modelId="{6ED4E1AA-EFDD-4E70-836E-3DB36084DE98}" type="parTrans" cxnId="{0D252A7C-EA88-478B-9AB7-96B65AE1E68A}">
      <dgm:prSet/>
      <dgm:spPr/>
      <dgm:t>
        <a:bodyPr/>
        <a:lstStyle/>
        <a:p>
          <a:endParaRPr lang="en-US"/>
        </a:p>
      </dgm:t>
    </dgm:pt>
    <dgm:pt modelId="{1D0F051B-C9A8-457A-BE08-985EF4C28172}" type="sibTrans" cxnId="{0D252A7C-EA88-478B-9AB7-96B65AE1E68A}">
      <dgm:prSet/>
      <dgm:spPr/>
      <dgm:t>
        <a:bodyPr/>
        <a:lstStyle/>
        <a:p>
          <a:endParaRPr lang="en-US"/>
        </a:p>
      </dgm:t>
    </dgm:pt>
    <dgm:pt modelId="{C6E107C8-C87F-4E03-9C51-3B0FC309122B}">
      <dgm:prSet custT="1"/>
      <dgm:spPr/>
      <dgm:t>
        <a:bodyPr/>
        <a:lstStyle/>
        <a:p>
          <a:pPr rtl="0"/>
          <a:r>
            <a:rPr lang="en-US" sz="1600" dirty="0" smtClean="0"/>
            <a:t>Create transaction</a:t>
          </a:r>
          <a:endParaRPr lang="en-US" sz="1600" dirty="0"/>
        </a:p>
      </dgm:t>
    </dgm:pt>
    <dgm:pt modelId="{645C00E4-762B-4277-AD48-4328B4AF7430}" type="parTrans" cxnId="{AF611182-AAE8-4190-BE35-A2473E50306B}">
      <dgm:prSet/>
      <dgm:spPr/>
      <dgm:t>
        <a:bodyPr/>
        <a:lstStyle/>
        <a:p>
          <a:endParaRPr lang="en-US"/>
        </a:p>
      </dgm:t>
    </dgm:pt>
    <dgm:pt modelId="{E622C44F-BC5B-49E7-9D58-720E5F6040E1}" type="sibTrans" cxnId="{AF611182-AAE8-4190-BE35-A2473E50306B}">
      <dgm:prSet/>
      <dgm:spPr/>
      <dgm:t>
        <a:bodyPr/>
        <a:lstStyle/>
        <a:p>
          <a:endParaRPr lang="en-US"/>
        </a:p>
      </dgm:t>
    </dgm:pt>
    <dgm:pt modelId="{09967023-FD4B-4E34-A1C9-A393B75E32BA}">
      <dgm:prSet custT="1"/>
      <dgm:spPr/>
      <dgm:t>
        <a:bodyPr/>
        <a:lstStyle/>
        <a:p>
          <a:pPr rtl="0"/>
          <a:r>
            <a:rPr lang="en-US" sz="1600" dirty="0" smtClean="0"/>
            <a:t>Process monitor- that can detect, remove and restart faulty process</a:t>
          </a:r>
          <a:endParaRPr lang="en-US" sz="1600" dirty="0"/>
        </a:p>
      </dgm:t>
    </dgm:pt>
    <dgm:pt modelId="{28774598-E592-4921-B255-0225EB6D096E}" type="parTrans" cxnId="{DB925F6A-7761-4D5E-84C9-D63652FE2570}">
      <dgm:prSet/>
      <dgm:spPr/>
      <dgm:t>
        <a:bodyPr/>
        <a:lstStyle/>
        <a:p>
          <a:endParaRPr lang="en-US"/>
        </a:p>
      </dgm:t>
    </dgm:pt>
    <dgm:pt modelId="{0B7B4A03-7BEB-45DD-A62C-7505C5BC4A5B}" type="sibTrans" cxnId="{DB925F6A-7761-4D5E-84C9-D63652FE2570}">
      <dgm:prSet/>
      <dgm:spPr/>
      <dgm:t>
        <a:bodyPr/>
        <a:lstStyle/>
        <a:p>
          <a:endParaRPr lang="en-US"/>
        </a:p>
      </dgm:t>
    </dgm:pt>
    <dgm:pt modelId="{35016019-1F0E-47A9-A9CB-AE98C0AFCFC1}">
      <dgm:prSet custT="1"/>
      <dgm:spPr/>
      <dgm:t>
        <a:bodyPr/>
        <a:lstStyle/>
        <a:p>
          <a:pPr rtl="0"/>
          <a:r>
            <a:rPr lang="en-US" sz="1600" dirty="0" smtClean="0"/>
            <a:t>State resynchronization</a:t>
          </a:r>
          <a:endParaRPr lang="en-US" sz="1600" dirty="0"/>
        </a:p>
      </dgm:t>
    </dgm:pt>
    <dgm:pt modelId="{A60BCA66-49BB-4275-9110-8B471B3FC59B}" type="parTrans" cxnId="{F0C0AED6-3BFB-430A-84C4-C1842ECA49F1}">
      <dgm:prSet/>
      <dgm:spPr/>
      <dgm:t>
        <a:bodyPr/>
        <a:lstStyle/>
        <a:p>
          <a:endParaRPr lang="en-US"/>
        </a:p>
      </dgm:t>
    </dgm:pt>
    <dgm:pt modelId="{549EC933-326F-43C6-A4AD-B0C6604A5CF9}" type="sibTrans" cxnId="{F0C0AED6-3BFB-430A-84C4-C1842ECA49F1}">
      <dgm:prSet/>
      <dgm:spPr/>
      <dgm:t>
        <a:bodyPr/>
        <a:lstStyle/>
        <a:p>
          <a:endParaRPr lang="en-US"/>
        </a:p>
      </dgm:t>
    </dgm:pt>
    <dgm:pt modelId="{49742260-F14F-4BCB-8D88-ADD2EB5024EC}">
      <dgm:prSet custT="1"/>
      <dgm:spPr/>
      <dgm:t>
        <a:bodyPr/>
        <a:lstStyle/>
        <a:p>
          <a:pPr rtl="0"/>
          <a:r>
            <a:rPr lang="en-US" sz="1600" dirty="0" err="1" smtClean="0"/>
            <a:t>Checkpointing</a:t>
          </a:r>
          <a:r>
            <a:rPr lang="en-US" sz="1600" dirty="0" smtClean="0"/>
            <a:t> and rollback</a:t>
          </a:r>
          <a:endParaRPr lang="en-US" sz="1600" dirty="0"/>
        </a:p>
      </dgm:t>
    </dgm:pt>
    <dgm:pt modelId="{9275B05E-F520-4192-9B33-84AEEBC3F62D}" type="parTrans" cxnId="{A0E66910-A417-4433-846A-E364FADC3533}">
      <dgm:prSet/>
      <dgm:spPr/>
      <dgm:t>
        <a:bodyPr/>
        <a:lstStyle/>
        <a:p>
          <a:endParaRPr lang="en-US"/>
        </a:p>
      </dgm:t>
    </dgm:pt>
    <dgm:pt modelId="{BDB94797-518D-4543-8D6F-13596FEC7A22}" type="sibTrans" cxnId="{A0E66910-A417-4433-846A-E364FADC3533}">
      <dgm:prSet/>
      <dgm:spPr/>
      <dgm:t>
        <a:bodyPr/>
        <a:lstStyle/>
        <a:p>
          <a:endParaRPr lang="en-US"/>
        </a:p>
      </dgm:t>
    </dgm:pt>
    <dgm:pt modelId="{0216D3CF-84E5-4443-8082-6C6C297E9A4D}">
      <dgm:prSet custT="1"/>
      <dgm:spPr/>
      <dgm:t>
        <a:bodyPr/>
        <a:lstStyle/>
        <a:p>
          <a:pPr rtl="0"/>
          <a:r>
            <a:rPr lang="en-US" sz="1800" dirty="0" smtClean="0"/>
            <a:t>Voting</a:t>
          </a:r>
          <a:endParaRPr lang="en-US" sz="1800" dirty="0"/>
        </a:p>
      </dgm:t>
    </dgm:pt>
    <dgm:pt modelId="{C3334397-F4C9-43FD-9DE7-786437A51BF8}" type="parTrans" cxnId="{EF17C288-FABF-470A-9F6E-6F1AC60C08BE}">
      <dgm:prSet/>
      <dgm:spPr/>
      <dgm:t>
        <a:bodyPr/>
        <a:lstStyle/>
        <a:p>
          <a:endParaRPr lang="en-US"/>
        </a:p>
      </dgm:t>
    </dgm:pt>
    <dgm:pt modelId="{9C27E3D0-AEBB-4C4C-AFEA-8F9AF608B21E}" type="sibTrans" cxnId="{EF17C288-FABF-470A-9F6E-6F1AC60C08BE}">
      <dgm:prSet/>
      <dgm:spPr/>
      <dgm:t>
        <a:bodyPr/>
        <a:lstStyle/>
        <a:p>
          <a:endParaRPr lang="en-US"/>
        </a:p>
      </dgm:t>
    </dgm:pt>
    <dgm:pt modelId="{90833815-F732-45AF-B735-7A208BE16A8A}">
      <dgm:prSet custT="1"/>
      <dgm:spPr/>
      <dgm:t>
        <a:bodyPr/>
        <a:lstStyle/>
        <a:p>
          <a:pPr rtl="0"/>
          <a:r>
            <a:rPr lang="en-US" sz="1800" dirty="0" smtClean="0"/>
            <a:t>Active redundancy</a:t>
          </a:r>
          <a:endParaRPr lang="en-US" sz="1800" dirty="0"/>
        </a:p>
      </dgm:t>
    </dgm:pt>
    <dgm:pt modelId="{62301F5E-BDD5-4369-B9CF-5999FECA1C85}" type="parTrans" cxnId="{A630084D-67F8-48A7-9951-F46F3604D1B4}">
      <dgm:prSet/>
      <dgm:spPr/>
      <dgm:t>
        <a:bodyPr/>
        <a:lstStyle/>
        <a:p>
          <a:endParaRPr lang="en-US"/>
        </a:p>
      </dgm:t>
    </dgm:pt>
    <dgm:pt modelId="{7A88FAF5-FAAB-4848-B347-2B42AF8023FF}" type="sibTrans" cxnId="{A630084D-67F8-48A7-9951-F46F3604D1B4}">
      <dgm:prSet/>
      <dgm:spPr/>
      <dgm:t>
        <a:bodyPr/>
        <a:lstStyle/>
        <a:p>
          <a:endParaRPr lang="en-US"/>
        </a:p>
      </dgm:t>
    </dgm:pt>
    <dgm:pt modelId="{2F6572D1-3E4E-41CC-B816-15F6AA753750}">
      <dgm:prSet custT="1"/>
      <dgm:spPr/>
      <dgm:t>
        <a:bodyPr/>
        <a:lstStyle/>
        <a:p>
          <a:pPr rtl="0"/>
          <a:r>
            <a:rPr lang="en-US" sz="1800" dirty="0" smtClean="0"/>
            <a:t>Passive redundancy</a:t>
          </a:r>
          <a:endParaRPr lang="en-US" sz="1800" dirty="0"/>
        </a:p>
      </dgm:t>
    </dgm:pt>
    <dgm:pt modelId="{453F9760-1876-428B-8CB6-DA8F60516D89}" type="parTrans" cxnId="{06E71150-3811-4FC5-8858-0203DD6C998E}">
      <dgm:prSet/>
      <dgm:spPr/>
      <dgm:t>
        <a:bodyPr/>
        <a:lstStyle/>
        <a:p>
          <a:endParaRPr lang="en-US"/>
        </a:p>
      </dgm:t>
    </dgm:pt>
    <dgm:pt modelId="{F36BC338-6ADD-4D27-8F50-A2943AF092AF}" type="sibTrans" cxnId="{06E71150-3811-4FC5-8858-0203DD6C998E}">
      <dgm:prSet/>
      <dgm:spPr/>
      <dgm:t>
        <a:bodyPr/>
        <a:lstStyle/>
        <a:p>
          <a:endParaRPr lang="en-US"/>
        </a:p>
      </dgm:t>
    </dgm:pt>
    <dgm:pt modelId="{CFEBB133-5D80-4E9D-815E-BA7E2B5804D2}">
      <dgm:prSet custT="1"/>
      <dgm:spPr/>
      <dgm:t>
        <a:bodyPr/>
        <a:lstStyle/>
        <a:p>
          <a:pPr rtl="0"/>
          <a:r>
            <a:rPr lang="en-US" sz="1800" dirty="0" smtClean="0"/>
            <a:t>Spare copy</a:t>
          </a:r>
          <a:endParaRPr lang="en-US" sz="1800" dirty="0"/>
        </a:p>
      </dgm:t>
    </dgm:pt>
    <dgm:pt modelId="{6C5C9B86-7AAA-465B-98FF-E3F38189A3AE}" type="parTrans" cxnId="{7E8A394C-0B32-41E9-BC7B-038412EB61D4}">
      <dgm:prSet/>
      <dgm:spPr/>
      <dgm:t>
        <a:bodyPr/>
        <a:lstStyle/>
        <a:p>
          <a:endParaRPr lang="en-US"/>
        </a:p>
      </dgm:t>
    </dgm:pt>
    <dgm:pt modelId="{7FDECB7D-540F-4AC8-A911-0EDE43878630}" type="sibTrans" cxnId="{7E8A394C-0B32-41E9-BC7B-038412EB61D4}">
      <dgm:prSet/>
      <dgm:spPr/>
      <dgm:t>
        <a:bodyPr/>
        <a:lstStyle/>
        <a:p>
          <a:endParaRPr lang="en-US"/>
        </a:p>
      </dgm:t>
    </dgm:pt>
    <dgm:pt modelId="{720AE7B9-47AD-4FF9-8447-DF1B8C5FD193}">
      <dgm:prSet custT="1"/>
      <dgm:spPr/>
      <dgm:t>
        <a:bodyPr/>
        <a:lstStyle/>
        <a:p>
          <a:pPr rtl="0"/>
          <a:r>
            <a:rPr lang="en-US" sz="1800" dirty="0" smtClean="0"/>
            <a:t>Ping/echo</a:t>
          </a:r>
          <a:endParaRPr lang="en-US" sz="1800" dirty="0"/>
        </a:p>
      </dgm:t>
    </dgm:pt>
    <dgm:pt modelId="{3722DDF4-26E2-4422-A516-DEEAC3ECF65B}" type="parTrans" cxnId="{C7B12242-93F1-42B1-8149-73B2BE7E9DC0}">
      <dgm:prSet/>
      <dgm:spPr/>
      <dgm:t>
        <a:bodyPr/>
        <a:lstStyle/>
        <a:p>
          <a:endParaRPr lang="en-US"/>
        </a:p>
      </dgm:t>
    </dgm:pt>
    <dgm:pt modelId="{D7F902F3-F976-415B-98C3-59057320C539}" type="sibTrans" cxnId="{C7B12242-93F1-42B1-8149-73B2BE7E9DC0}">
      <dgm:prSet/>
      <dgm:spPr/>
      <dgm:t>
        <a:bodyPr/>
        <a:lstStyle/>
        <a:p>
          <a:endParaRPr lang="en-US"/>
        </a:p>
      </dgm:t>
    </dgm:pt>
    <dgm:pt modelId="{7D7C3FA2-CE75-4B7D-A218-416906B8D917}">
      <dgm:prSet custT="1"/>
      <dgm:spPr/>
      <dgm:t>
        <a:bodyPr/>
        <a:lstStyle/>
        <a:p>
          <a:pPr rtl="0"/>
          <a:r>
            <a:rPr lang="en-US" sz="1800" dirty="0" smtClean="0"/>
            <a:t>Heartbeat</a:t>
          </a:r>
          <a:endParaRPr lang="en-US" sz="1800" dirty="0"/>
        </a:p>
      </dgm:t>
    </dgm:pt>
    <dgm:pt modelId="{14236E25-24F5-4DBC-8E23-FED5A30DEF0E}" type="parTrans" cxnId="{2648CEB6-4DB9-42A6-B700-4831395E15AC}">
      <dgm:prSet/>
      <dgm:spPr/>
      <dgm:t>
        <a:bodyPr/>
        <a:lstStyle/>
        <a:p>
          <a:endParaRPr lang="en-US"/>
        </a:p>
      </dgm:t>
    </dgm:pt>
    <dgm:pt modelId="{FB40D391-DB77-4C2C-BDCE-7A207CEAE6FE}" type="sibTrans" cxnId="{2648CEB6-4DB9-42A6-B700-4831395E15AC}">
      <dgm:prSet/>
      <dgm:spPr/>
      <dgm:t>
        <a:bodyPr/>
        <a:lstStyle/>
        <a:p>
          <a:endParaRPr lang="en-US"/>
        </a:p>
      </dgm:t>
    </dgm:pt>
    <dgm:pt modelId="{9B931718-FC68-4B2E-9854-492BCFE6FE83}">
      <dgm:prSet custT="1"/>
      <dgm:spPr/>
      <dgm:t>
        <a:bodyPr/>
        <a:lstStyle/>
        <a:p>
          <a:pPr rtl="0"/>
          <a:r>
            <a:rPr lang="en-US" sz="1800" dirty="0" smtClean="0"/>
            <a:t>Exception</a:t>
          </a:r>
          <a:endParaRPr lang="en-US" sz="1800" dirty="0"/>
        </a:p>
      </dgm:t>
    </dgm:pt>
    <dgm:pt modelId="{359E2506-5D19-4F9C-8688-C666576175A9}" type="parTrans" cxnId="{6E2E3B55-A6EB-46D7-B7D0-04629FD4C800}">
      <dgm:prSet/>
      <dgm:spPr/>
      <dgm:t>
        <a:bodyPr/>
        <a:lstStyle/>
        <a:p>
          <a:endParaRPr lang="en-US"/>
        </a:p>
      </dgm:t>
    </dgm:pt>
    <dgm:pt modelId="{3113A228-1208-4305-91A0-AEEDFF54B5B2}" type="sibTrans" cxnId="{6E2E3B55-A6EB-46D7-B7D0-04629FD4C800}">
      <dgm:prSet/>
      <dgm:spPr/>
      <dgm:t>
        <a:bodyPr/>
        <a:lstStyle/>
        <a:p>
          <a:endParaRPr lang="en-US"/>
        </a:p>
      </dgm:t>
    </dgm:pt>
    <dgm:pt modelId="{E9F5810C-05C5-4937-8779-609DD6BD5CFD}" type="pres">
      <dgm:prSet presAssocID="{A26E1133-27F8-42A1-91FE-23383B9ACC9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5A00B3E-FEA8-439F-999E-8DB6BC95DBC0}" type="pres">
      <dgm:prSet presAssocID="{43BDC9E6-B3ED-4E11-B81F-A36F96CA06AD}" presName="hierRoot1" presStyleCnt="0">
        <dgm:presLayoutVars>
          <dgm:hierBranch val="init"/>
        </dgm:presLayoutVars>
      </dgm:prSet>
      <dgm:spPr/>
    </dgm:pt>
    <dgm:pt modelId="{305CB9B7-E4C6-453D-AC39-1DA3FA25C576}" type="pres">
      <dgm:prSet presAssocID="{43BDC9E6-B3ED-4E11-B81F-A36F96CA06AD}" presName="rootComposite1" presStyleCnt="0"/>
      <dgm:spPr/>
    </dgm:pt>
    <dgm:pt modelId="{1AD90FEA-3135-49C2-A3C0-CFEDDC6405B3}" type="pres">
      <dgm:prSet presAssocID="{43BDC9E6-B3ED-4E11-B81F-A36F96CA06AD}" presName="rootText1" presStyleLbl="node0" presStyleIdx="0" presStyleCnt="1" custScaleX="217502" custScaleY="68885" custLinFactNeighborX="1602" custLinFactNeighborY="-4516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EF86BC6-06CE-4768-9942-F4420543D5EE}" type="pres">
      <dgm:prSet presAssocID="{43BDC9E6-B3ED-4E11-B81F-A36F96CA06AD}" presName="rootConnector1" presStyleLbl="node1" presStyleIdx="0" presStyleCnt="0"/>
      <dgm:spPr/>
      <dgm:t>
        <a:bodyPr/>
        <a:lstStyle/>
        <a:p>
          <a:endParaRPr lang="en-US"/>
        </a:p>
      </dgm:t>
    </dgm:pt>
    <dgm:pt modelId="{EC72B6B4-B63E-4FE2-8CC2-5FA221770366}" type="pres">
      <dgm:prSet presAssocID="{43BDC9E6-B3ED-4E11-B81F-A36F96CA06AD}" presName="hierChild2" presStyleCnt="0"/>
      <dgm:spPr/>
    </dgm:pt>
    <dgm:pt modelId="{A3BC68A0-CABF-4126-884C-C90818E1E26E}" type="pres">
      <dgm:prSet presAssocID="{3EEFE082-C4FA-499A-BA01-E4B8217A4B73}" presName="Name37" presStyleLbl="parChTrans1D2" presStyleIdx="0" presStyleCnt="4"/>
      <dgm:spPr/>
      <dgm:t>
        <a:bodyPr/>
        <a:lstStyle/>
        <a:p>
          <a:endParaRPr lang="en-US"/>
        </a:p>
      </dgm:t>
    </dgm:pt>
    <dgm:pt modelId="{9B84C5AA-6259-445A-8F7A-6D366FCBB4AD}" type="pres">
      <dgm:prSet presAssocID="{843E3B21-DC9F-4CF8-A7F1-93BF704E47A7}" presName="hierRoot2" presStyleCnt="0">
        <dgm:presLayoutVars>
          <dgm:hierBranch val="init"/>
        </dgm:presLayoutVars>
      </dgm:prSet>
      <dgm:spPr/>
    </dgm:pt>
    <dgm:pt modelId="{F324FB99-E565-440D-9319-A2867DA87756}" type="pres">
      <dgm:prSet presAssocID="{843E3B21-DC9F-4CF8-A7F1-93BF704E47A7}" presName="rootComposite" presStyleCnt="0"/>
      <dgm:spPr/>
    </dgm:pt>
    <dgm:pt modelId="{5E5C4910-D5C2-4117-9825-0F4E2308A1D4}" type="pres">
      <dgm:prSet presAssocID="{843E3B21-DC9F-4CF8-A7F1-93BF704E47A7}" presName="rootText" presStyleLbl="node2" presStyleIdx="0" presStyleCnt="4" custScaleY="90886" custLinFactNeighborX="-19331" custLinFactNeighborY="1236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B22B6A5-BFAD-4E5F-BED0-C002FA69FEEF}" type="pres">
      <dgm:prSet presAssocID="{843E3B21-DC9F-4CF8-A7F1-93BF704E47A7}" presName="rootConnector" presStyleLbl="node2" presStyleIdx="0" presStyleCnt="4"/>
      <dgm:spPr/>
      <dgm:t>
        <a:bodyPr/>
        <a:lstStyle/>
        <a:p>
          <a:endParaRPr lang="en-US"/>
        </a:p>
      </dgm:t>
    </dgm:pt>
    <dgm:pt modelId="{16186025-4BC6-46E2-97F6-F9084F02632D}" type="pres">
      <dgm:prSet presAssocID="{843E3B21-DC9F-4CF8-A7F1-93BF704E47A7}" presName="hierChild4" presStyleCnt="0"/>
      <dgm:spPr/>
    </dgm:pt>
    <dgm:pt modelId="{A83ED5F7-10A0-45C9-B814-5804FA76917E}" type="pres">
      <dgm:prSet presAssocID="{3722DDF4-26E2-4422-A516-DEEAC3ECF65B}" presName="Name37" presStyleLbl="parChTrans1D3" presStyleIdx="0" presStyleCnt="13"/>
      <dgm:spPr/>
      <dgm:t>
        <a:bodyPr/>
        <a:lstStyle/>
        <a:p>
          <a:endParaRPr lang="en-US"/>
        </a:p>
      </dgm:t>
    </dgm:pt>
    <dgm:pt modelId="{D44CFE56-6231-4D51-BDF4-F9842887D455}" type="pres">
      <dgm:prSet presAssocID="{720AE7B9-47AD-4FF9-8447-DF1B8C5FD193}" presName="hierRoot2" presStyleCnt="0">
        <dgm:presLayoutVars>
          <dgm:hierBranch val="init"/>
        </dgm:presLayoutVars>
      </dgm:prSet>
      <dgm:spPr/>
    </dgm:pt>
    <dgm:pt modelId="{F340CB26-8421-44AC-9592-9BB7E87D96B8}" type="pres">
      <dgm:prSet presAssocID="{720AE7B9-47AD-4FF9-8447-DF1B8C5FD193}" presName="rootComposite" presStyleCnt="0"/>
      <dgm:spPr/>
    </dgm:pt>
    <dgm:pt modelId="{1064D61A-5C37-497D-A6F5-6312AB6E3F5A}" type="pres">
      <dgm:prSet presAssocID="{720AE7B9-47AD-4FF9-8447-DF1B8C5FD193}" presName="rootText" presStyleLbl="node3" presStyleIdx="0" presStyleCnt="13" custLinFactNeighborX="-19331" custLinFactNeighborY="1236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D0BA542-EABF-46D4-A11D-8954A50A4A27}" type="pres">
      <dgm:prSet presAssocID="{720AE7B9-47AD-4FF9-8447-DF1B8C5FD193}" presName="rootConnector" presStyleLbl="node3" presStyleIdx="0" presStyleCnt="13"/>
      <dgm:spPr/>
      <dgm:t>
        <a:bodyPr/>
        <a:lstStyle/>
        <a:p>
          <a:endParaRPr lang="en-US"/>
        </a:p>
      </dgm:t>
    </dgm:pt>
    <dgm:pt modelId="{CB5479DD-BB83-4A7F-A8FE-0204BBEBDE57}" type="pres">
      <dgm:prSet presAssocID="{720AE7B9-47AD-4FF9-8447-DF1B8C5FD193}" presName="hierChild4" presStyleCnt="0"/>
      <dgm:spPr/>
    </dgm:pt>
    <dgm:pt modelId="{72F3B94E-5E2C-4DF9-BCD5-3D635951032C}" type="pres">
      <dgm:prSet presAssocID="{720AE7B9-47AD-4FF9-8447-DF1B8C5FD193}" presName="hierChild5" presStyleCnt="0"/>
      <dgm:spPr/>
    </dgm:pt>
    <dgm:pt modelId="{A2B3E9C0-0CE1-4B88-9E71-F7CE1A7F99D7}" type="pres">
      <dgm:prSet presAssocID="{14236E25-24F5-4DBC-8E23-FED5A30DEF0E}" presName="Name37" presStyleLbl="parChTrans1D3" presStyleIdx="1" presStyleCnt="13"/>
      <dgm:spPr/>
      <dgm:t>
        <a:bodyPr/>
        <a:lstStyle/>
        <a:p>
          <a:endParaRPr lang="en-US"/>
        </a:p>
      </dgm:t>
    </dgm:pt>
    <dgm:pt modelId="{16797127-63BB-4E8C-8005-5E72B3FF9B3C}" type="pres">
      <dgm:prSet presAssocID="{7D7C3FA2-CE75-4B7D-A218-416906B8D917}" presName="hierRoot2" presStyleCnt="0">
        <dgm:presLayoutVars>
          <dgm:hierBranch val="init"/>
        </dgm:presLayoutVars>
      </dgm:prSet>
      <dgm:spPr/>
    </dgm:pt>
    <dgm:pt modelId="{4DFEF789-40AF-4966-81EA-F7C1CBE52773}" type="pres">
      <dgm:prSet presAssocID="{7D7C3FA2-CE75-4B7D-A218-416906B8D917}" presName="rootComposite" presStyleCnt="0"/>
      <dgm:spPr/>
    </dgm:pt>
    <dgm:pt modelId="{A77E27D0-EFD7-495B-9E1A-5A5371B8AB84}" type="pres">
      <dgm:prSet presAssocID="{7D7C3FA2-CE75-4B7D-A218-416906B8D917}" presName="rootText" presStyleLbl="node3" presStyleIdx="1" presStyleCnt="13" custLinFactNeighborX="-19331" custLinFactNeighborY="1236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3F8734B-291F-4EE9-8AEC-5D7130065FE8}" type="pres">
      <dgm:prSet presAssocID="{7D7C3FA2-CE75-4B7D-A218-416906B8D917}" presName="rootConnector" presStyleLbl="node3" presStyleIdx="1" presStyleCnt="13"/>
      <dgm:spPr/>
      <dgm:t>
        <a:bodyPr/>
        <a:lstStyle/>
        <a:p>
          <a:endParaRPr lang="en-US"/>
        </a:p>
      </dgm:t>
    </dgm:pt>
    <dgm:pt modelId="{F1241E53-1837-4666-9A60-B6AD42958195}" type="pres">
      <dgm:prSet presAssocID="{7D7C3FA2-CE75-4B7D-A218-416906B8D917}" presName="hierChild4" presStyleCnt="0"/>
      <dgm:spPr/>
    </dgm:pt>
    <dgm:pt modelId="{E1079AD2-0C8E-44F0-9596-6D504E6161CE}" type="pres">
      <dgm:prSet presAssocID="{7D7C3FA2-CE75-4B7D-A218-416906B8D917}" presName="hierChild5" presStyleCnt="0"/>
      <dgm:spPr/>
    </dgm:pt>
    <dgm:pt modelId="{50C84909-550F-4BDC-8966-B86E5E1786AE}" type="pres">
      <dgm:prSet presAssocID="{359E2506-5D19-4F9C-8688-C666576175A9}" presName="Name37" presStyleLbl="parChTrans1D3" presStyleIdx="2" presStyleCnt="13"/>
      <dgm:spPr/>
      <dgm:t>
        <a:bodyPr/>
        <a:lstStyle/>
        <a:p>
          <a:endParaRPr lang="en-US"/>
        </a:p>
      </dgm:t>
    </dgm:pt>
    <dgm:pt modelId="{EBCAC25B-3E97-4708-AA7E-0D44E4C06B2C}" type="pres">
      <dgm:prSet presAssocID="{9B931718-FC68-4B2E-9854-492BCFE6FE83}" presName="hierRoot2" presStyleCnt="0">
        <dgm:presLayoutVars>
          <dgm:hierBranch val="init"/>
        </dgm:presLayoutVars>
      </dgm:prSet>
      <dgm:spPr/>
    </dgm:pt>
    <dgm:pt modelId="{56A22D43-7DD1-46E6-B06A-D1D662EE6DAD}" type="pres">
      <dgm:prSet presAssocID="{9B931718-FC68-4B2E-9854-492BCFE6FE83}" presName="rootComposite" presStyleCnt="0"/>
      <dgm:spPr/>
    </dgm:pt>
    <dgm:pt modelId="{984A4F3B-0A00-4E5A-9092-1922B8A7FAB3}" type="pres">
      <dgm:prSet presAssocID="{9B931718-FC68-4B2E-9854-492BCFE6FE83}" presName="rootText" presStyleLbl="node3" presStyleIdx="2" presStyleCnt="13" custLinFactNeighborX="-19331" custLinFactNeighborY="1236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00B55C8-272E-490B-AB5F-A5C6369E8C79}" type="pres">
      <dgm:prSet presAssocID="{9B931718-FC68-4B2E-9854-492BCFE6FE83}" presName="rootConnector" presStyleLbl="node3" presStyleIdx="2" presStyleCnt="13"/>
      <dgm:spPr/>
      <dgm:t>
        <a:bodyPr/>
        <a:lstStyle/>
        <a:p>
          <a:endParaRPr lang="en-US"/>
        </a:p>
      </dgm:t>
    </dgm:pt>
    <dgm:pt modelId="{18D6C1B6-F902-4ABE-BB60-086B907C1C3A}" type="pres">
      <dgm:prSet presAssocID="{9B931718-FC68-4B2E-9854-492BCFE6FE83}" presName="hierChild4" presStyleCnt="0"/>
      <dgm:spPr/>
    </dgm:pt>
    <dgm:pt modelId="{4E3F742A-A2F5-4971-A026-90DA3CFE956C}" type="pres">
      <dgm:prSet presAssocID="{9B931718-FC68-4B2E-9854-492BCFE6FE83}" presName="hierChild5" presStyleCnt="0"/>
      <dgm:spPr/>
    </dgm:pt>
    <dgm:pt modelId="{82355405-192E-42E7-B905-7A6FE845C6D9}" type="pres">
      <dgm:prSet presAssocID="{843E3B21-DC9F-4CF8-A7F1-93BF704E47A7}" presName="hierChild5" presStyleCnt="0"/>
      <dgm:spPr/>
    </dgm:pt>
    <dgm:pt modelId="{96956835-3386-449C-A89B-65F7C680246D}" type="pres">
      <dgm:prSet presAssocID="{65D088B7-B36E-49AA-84B9-2BC51B326EA1}" presName="Name37" presStyleLbl="parChTrans1D2" presStyleIdx="1" presStyleCnt="4"/>
      <dgm:spPr/>
      <dgm:t>
        <a:bodyPr/>
        <a:lstStyle/>
        <a:p>
          <a:endParaRPr lang="en-US"/>
        </a:p>
      </dgm:t>
    </dgm:pt>
    <dgm:pt modelId="{DBD72DFC-EF80-4973-B6E5-D3C9AB052F9E}" type="pres">
      <dgm:prSet presAssocID="{E420C67E-C4C2-476B-9B47-FFB47D587009}" presName="hierRoot2" presStyleCnt="0">
        <dgm:presLayoutVars>
          <dgm:hierBranch val="init"/>
        </dgm:presLayoutVars>
      </dgm:prSet>
      <dgm:spPr/>
    </dgm:pt>
    <dgm:pt modelId="{72B31F8C-4060-4D82-8D0A-8A332812C464}" type="pres">
      <dgm:prSet presAssocID="{E420C67E-C4C2-476B-9B47-FFB47D587009}" presName="rootComposite" presStyleCnt="0"/>
      <dgm:spPr/>
    </dgm:pt>
    <dgm:pt modelId="{F0ED6141-24DB-4164-A2D4-B51E750525CD}" type="pres">
      <dgm:prSet presAssocID="{E420C67E-C4C2-476B-9B47-FFB47D587009}" presName="rootText" presStyleLbl="node2" presStyleIdx="1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5256018-C335-4CDB-9EC5-7AE2ABAC1E00}" type="pres">
      <dgm:prSet presAssocID="{E420C67E-C4C2-476B-9B47-FFB47D587009}" presName="rootConnector" presStyleLbl="node2" presStyleIdx="1" presStyleCnt="4"/>
      <dgm:spPr/>
      <dgm:t>
        <a:bodyPr/>
        <a:lstStyle/>
        <a:p>
          <a:endParaRPr lang="en-US"/>
        </a:p>
      </dgm:t>
    </dgm:pt>
    <dgm:pt modelId="{2A7D3334-4741-4667-BCDB-1A78491B4FD4}" type="pres">
      <dgm:prSet presAssocID="{E420C67E-C4C2-476B-9B47-FFB47D587009}" presName="hierChild4" presStyleCnt="0"/>
      <dgm:spPr/>
    </dgm:pt>
    <dgm:pt modelId="{CC07306D-4BD7-4477-BB61-A954489058D6}" type="pres">
      <dgm:prSet presAssocID="{C3334397-F4C9-43FD-9DE7-786437A51BF8}" presName="Name37" presStyleLbl="parChTrans1D3" presStyleIdx="3" presStyleCnt="13"/>
      <dgm:spPr/>
      <dgm:t>
        <a:bodyPr/>
        <a:lstStyle/>
        <a:p>
          <a:endParaRPr lang="en-US"/>
        </a:p>
      </dgm:t>
    </dgm:pt>
    <dgm:pt modelId="{0ECB6EE9-64D7-46FB-8A0A-B83CD370F0B4}" type="pres">
      <dgm:prSet presAssocID="{0216D3CF-84E5-4443-8082-6C6C297E9A4D}" presName="hierRoot2" presStyleCnt="0">
        <dgm:presLayoutVars>
          <dgm:hierBranch val="init"/>
        </dgm:presLayoutVars>
      </dgm:prSet>
      <dgm:spPr/>
    </dgm:pt>
    <dgm:pt modelId="{9D96850F-E3A0-4435-B942-5F48B18AC5F4}" type="pres">
      <dgm:prSet presAssocID="{0216D3CF-84E5-4443-8082-6C6C297E9A4D}" presName="rootComposite" presStyleCnt="0"/>
      <dgm:spPr/>
    </dgm:pt>
    <dgm:pt modelId="{CBCDE87F-FA6C-44B8-A9C2-1E747BE7F736}" type="pres">
      <dgm:prSet presAssocID="{0216D3CF-84E5-4443-8082-6C6C297E9A4D}" presName="rootText" presStyleLbl="node3" presStyleIdx="3" presStyleCnt="1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F9F174C-7D69-49F6-A7FE-7ED9990EB82A}" type="pres">
      <dgm:prSet presAssocID="{0216D3CF-84E5-4443-8082-6C6C297E9A4D}" presName="rootConnector" presStyleLbl="node3" presStyleIdx="3" presStyleCnt="13"/>
      <dgm:spPr/>
      <dgm:t>
        <a:bodyPr/>
        <a:lstStyle/>
        <a:p>
          <a:endParaRPr lang="en-US"/>
        </a:p>
      </dgm:t>
    </dgm:pt>
    <dgm:pt modelId="{1934090D-CBAE-4AB8-9BE7-C9762145998D}" type="pres">
      <dgm:prSet presAssocID="{0216D3CF-84E5-4443-8082-6C6C297E9A4D}" presName="hierChild4" presStyleCnt="0"/>
      <dgm:spPr/>
    </dgm:pt>
    <dgm:pt modelId="{7BCCCAFF-8404-460B-9A5A-B8BF91057993}" type="pres">
      <dgm:prSet presAssocID="{0216D3CF-84E5-4443-8082-6C6C297E9A4D}" presName="hierChild5" presStyleCnt="0"/>
      <dgm:spPr/>
    </dgm:pt>
    <dgm:pt modelId="{FE10A4AF-D8A8-4F2D-9661-56E5DBB5B2C5}" type="pres">
      <dgm:prSet presAssocID="{62301F5E-BDD5-4369-B9CF-5999FECA1C85}" presName="Name37" presStyleLbl="parChTrans1D3" presStyleIdx="4" presStyleCnt="13"/>
      <dgm:spPr/>
      <dgm:t>
        <a:bodyPr/>
        <a:lstStyle/>
        <a:p>
          <a:endParaRPr lang="en-US"/>
        </a:p>
      </dgm:t>
    </dgm:pt>
    <dgm:pt modelId="{6E36B90A-357D-4409-934D-6F40EC568AE0}" type="pres">
      <dgm:prSet presAssocID="{90833815-F732-45AF-B735-7A208BE16A8A}" presName="hierRoot2" presStyleCnt="0">
        <dgm:presLayoutVars>
          <dgm:hierBranch val="init"/>
        </dgm:presLayoutVars>
      </dgm:prSet>
      <dgm:spPr/>
    </dgm:pt>
    <dgm:pt modelId="{AB55976F-0A75-48BF-8621-9232364F260E}" type="pres">
      <dgm:prSet presAssocID="{90833815-F732-45AF-B735-7A208BE16A8A}" presName="rootComposite" presStyleCnt="0"/>
      <dgm:spPr/>
    </dgm:pt>
    <dgm:pt modelId="{5D0F02D1-4A23-4B53-AF4F-3529BE69829E}" type="pres">
      <dgm:prSet presAssocID="{90833815-F732-45AF-B735-7A208BE16A8A}" presName="rootText" presStyleLbl="node3" presStyleIdx="4" presStyleCnt="1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FF15CAA-9BF1-4437-B877-2B6831555847}" type="pres">
      <dgm:prSet presAssocID="{90833815-F732-45AF-B735-7A208BE16A8A}" presName="rootConnector" presStyleLbl="node3" presStyleIdx="4" presStyleCnt="13"/>
      <dgm:spPr/>
      <dgm:t>
        <a:bodyPr/>
        <a:lstStyle/>
        <a:p>
          <a:endParaRPr lang="en-US"/>
        </a:p>
      </dgm:t>
    </dgm:pt>
    <dgm:pt modelId="{8EE5665B-F21D-4DA6-A444-6C77DD3C6F95}" type="pres">
      <dgm:prSet presAssocID="{90833815-F732-45AF-B735-7A208BE16A8A}" presName="hierChild4" presStyleCnt="0"/>
      <dgm:spPr/>
    </dgm:pt>
    <dgm:pt modelId="{F1F43870-C4AC-4AF4-AB05-6A054FC06D63}" type="pres">
      <dgm:prSet presAssocID="{90833815-F732-45AF-B735-7A208BE16A8A}" presName="hierChild5" presStyleCnt="0"/>
      <dgm:spPr/>
    </dgm:pt>
    <dgm:pt modelId="{1D4D3FE4-1739-4B3C-ACD2-597D18FBC50F}" type="pres">
      <dgm:prSet presAssocID="{453F9760-1876-428B-8CB6-DA8F60516D89}" presName="Name37" presStyleLbl="parChTrans1D3" presStyleIdx="5" presStyleCnt="13"/>
      <dgm:spPr/>
      <dgm:t>
        <a:bodyPr/>
        <a:lstStyle/>
        <a:p>
          <a:endParaRPr lang="en-US"/>
        </a:p>
      </dgm:t>
    </dgm:pt>
    <dgm:pt modelId="{9115B6B6-EA79-4FE0-843B-D82CDE234246}" type="pres">
      <dgm:prSet presAssocID="{2F6572D1-3E4E-41CC-B816-15F6AA753750}" presName="hierRoot2" presStyleCnt="0">
        <dgm:presLayoutVars>
          <dgm:hierBranch val="init"/>
        </dgm:presLayoutVars>
      </dgm:prSet>
      <dgm:spPr/>
    </dgm:pt>
    <dgm:pt modelId="{B54B6D9A-0CB7-42FF-A0FD-F2137F2080D7}" type="pres">
      <dgm:prSet presAssocID="{2F6572D1-3E4E-41CC-B816-15F6AA753750}" presName="rootComposite" presStyleCnt="0"/>
      <dgm:spPr/>
    </dgm:pt>
    <dgm:pt modelId="{7BABB840-5689-4566-85C9-55C4A127C4C6}" type="pres">
      <dgm:prSet presAssocID="{2F6572D1-3E4E-41CC-B816-15F6AA753750}" presName="rootText" presStyleLbl="node3" presStyleIdx="5" presStyleCnt="1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3C99CCA-0A47-4420-ABC8-53654C0C3796}" type="pres">
      <dgm:prSet presAssocID="{2F6572D1-3E4E-41CC-B816-15F6AA753750}" presName="rootConnector" presStyleLbl="node3" presStyleIdx="5" presStyleCnt="13"/>
      <dgm:spPr/>
      <dgm:t>
        <a:bodyPr/>
        <a:lstStyle/>
        <a:p>
          <a:endParaRPr lang="en-US"/>
        </a:p>
      </dgm:t>
    </dgm:pt>
    <dgm:pt modelId="{0D889D42-77FB-49A7-B6E8-3A8C670AFEAD}" type="pres">
      <dgm:prSet presAssocID="{2F6572D1-3E4E-41CC-B816-15F6AA753750}" presName="hierChild4" presStyleCnt="0"/>
      <dgm:spPr/>
    </dgm:pt>
    <dgm:pt modelId="{6BE4F57E-EC21-4523-B1EB-3AEDD24C4D44}" type="pres">
      <dgm:prSet presAssocID="{2F6572D1-3E4E-41CC-B816-15F6AA753750}" presName="hierChild5" presStyleCnt="0"/>
      <dgm:spPr/>
    </dgm:pt>
    <dgm:pt modelId="{3A94D9E8-C2A3-4765-9477-D710CC646957}" type="pres">
      <dgm:prSet presAssocID="{6C5C9B86-7AAA-465B-98FF-E3F38189A3AE}" presName="Name37" presStyleLbl="parChTrans1D3" presStyleIdx="6" presStyleCnt="13"/>
      <dgm:spPr/>
      <dgm:t>
        <a:bodyPr/>
        <a:lstStyle/>
        <a:p>
          <a:endParaRPr lang="en-US"/>
        </a:p>
      </dgm:t>
    </dgm:pt>
    <dgm:pt modelId="{2EAD44A1-134B-439B-87EC-257234921AE5}" type="pres">
      <dgm:prSet presAssocID="{CFEBB133-5D80-4E9D-815E-BA7E2B5804D2}" presName="hierRoot2" presStyleCnt="0">
        <dgm:presLayoutVars>
          <dgm:hierBranch val="init"/>
        </dgm:presLayoutVars>
      </dgm:prSet>
      <dgm:spPr/>
    </dgm:pt>
    <dgm:pt modelId="{2FB73BF3-3C5D-4AD3-9D1C-8A589100FCB7}" type="pres">
      <dgm:prSet presAssocID="{CFEBB133-5D80-4E9D-815E-BA7E2B5804D2}" presName="rootComposite" presStyleCnt="0"/>
      <dgm:spPr/>
    </dgm:pt>
    <dgm:pt modelId="{50D60845-A14B-4DD0-8DB4-8B07FEB31A21}" type="pres">
      <dgm:prSet presAssocID="{CFEBB133-5D80-4E9D-815E-BA7E2B5804D2}" presName="rootText" presStyleLbl="node3" presStyleIdx="6" presStyleCnt="1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55C39B9-C17D-4782-B68D-D9F73AAEE095}" type="pres">
      <dgm:prSet presAssocID="{CFEBB133-5D80-4E9D-815E-BA7E2B5804D2}" presName="rootConnector" presStyleLbl="node3" presStyleIdx="6" presStyleCnt="13"/>
      <dgm:spPr/>
      <dgm:t>
        <a:bodyPr/>
        <a:lstStyle/>
        <a:p>
          <a:endParaRPr lang="en-US"/>
        </a:p>
      </dgm:t>
    </dgm:pt>
    <dgm:pt modelId="{FE161E8F-9C2C-4330-91D6-9E6A7C6F19FB}" type="pres">
      <dgm:prSet presAssocID="{CFEBB133-5D80-4E9D-815E-BA7E2B5804D2}" presName="hierChild4" presStyleCnt="0"/>
      <dgm:spPr/>
    </dgm:pt>
    <dgm:pt modelId="{DCFA5C64-38E4-453B-BB1F-AE8ADB7F8B50}" type="pres">
      <dgm:prSet presAssocID="{CFEBB133-5D80-4E9D-815E-BA7E2B5804D2}" presName="hierChild5" presStyleCnt="0"/>
      <dgm:spPr/>
    </dgm:pt>
    <dgm:pt modelId="{1DBB8D6B-1EA9-448A-B87B-A162873E7B21}" type="pres">
      <dgm:prSet presAssocID="{E420C67E-C4C2-476B-9B47-FFB47D587009}" presName="hierChild5" presStyleCnt="0"/>
      <dgm:spPr/>
    </dgm:pt>
    <dgm:pt modelId="{C137CAE9-66E1-459B-A733-9B53B02E07AF}" type="pres">
      <dgm:prSet presAssocID="{6ED4E1AA-EFDD-4E70-836E-3DB36084DE98}" presName="Name37" presStyleLbl="parChTrans1D2" presStyleIdx="2" presStyleCnt="4"/>
      <dgm:spPr/>
      <dgm:t>
        <a:bodyPr/>
        <a:lstStyle/>
        <a:p>
          <a:endParaRPr lang="en-US"/>
        </a:p>
      </dgm:t>
    </dgm:pt>
    <dgm:pt modelId="{35CBA655-D40F-4A2B-B71A-711D392B5A84}" type="pres">
      <dgm:prSet presAssocID="{1CE2D78B-C788-472A-8424-7F9A4AB5205E}" presName="hierRoot2" presStyleCnt="0">
        <dgm:presLayoutVars>
          <dgm:hierBranch val="init"/>
        </dgm:presLayoutVars>
      </dgm:prSet>
      <dgm:spPr/>
    </dgm:pt>
    <dgm:pt modelId="{9DC86AED-B6DB-4100-9EA0-4E60FFB4A367}" type="pres">
      <dgm:prSet presAssocID="{1CE2D78B-C788-472A-8424-7F9A4AB5205E}" presName="rootComposite" presStyleCnt="0"/>
      <dgm:spPr/>
    </dgm:pt>
    <dgm:pt modelId="{A5F2589C-C16C-45F2-9A3D-F2A6CB2476D1}" type="pres">
      <dgm:prSet presAssocID="{1CE2D78B-C788-472A-8424-7F9A4AB5205E}" presName="rootText" presStyleLbl="node2" presStyleIdx="2" presStyleCnt="4" custScaleX="11656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D7B6648-0B7F-4E1F-B6C5-CE0E2F04B9FF}" type="pres">
      <dgm:prSet presAssocID="{1CE2D78B-C788-472A-8424-7F9A4AB5205E}" presName="rootConnector" presStyleLbl="node2" presStyleIdx="2" presStyleCnt="4"/>
      <dgm:spPr/>
      <dgm:t>
        <a:bodyPr/>
        <a:lstStyle/>
        <a:p>
          <a:endParaRPr lang="en-US"/>
        </a:p>
      </dgm:t>
    </dgm:pt>
    <dgm:pt modelId="{29CE8073-D253-4588-B954-7167D33B1947}" type="pres">
      <dgm:prSet presAssocID="{1CE2D78B-C788-472A-8424-7F9A4AB5205E}" presName="hierChild4" presStyleCnt="0"/>
      <dgm:spPr/>
    </dgm:pt>
    <dgm:pt modelId="{AEDC7120-FE6F-49D8-95F2-AB1B2B6AC9A8}" type="pres">
      <dgm:prSet presAssocID="{F0BD47AB-7AC9-40A2-A96D-1A911EFDE7FF}" presName="Name37" presStyleLbl="parChTrans1D3" presStyleIdx="7" presStyleCnt="13"/>
      <dgm:spPr/>
      <dgm:t>
        <a:bodyPr/>
        <a:lstStyle/>
        <a:p>
          <a:endParaRPr lang="en-US"/>
        </a:p>
      </dgm:t>
    </dgm:pt>
    <dgm:pt modelId="{F65159AB-B6AE-4C58-BE85-DB4966F15FBA}" type="pres">
      <dgm:prSet presAssocID="{A240A1E1-162D-4A6E-A806-B6FF45B3AB68}" presName="hierRoot2" presStyleCnt="0">
        <dgm:presLayoutVars>
          <dgm:hierBranch val="init"/>
        </dgm:presLayoutVars>
      </dgm:prSet>
      <dgm:spPr/>
    </dgm:pt>
    <dgm:pt modelId="{4413A7CD-B07B-4481-95F7-63264BEB8326}" type="pres">
      <dgm:prSet presAssocID="{A240A1E1-162D-4A6E-A806-B6FF45B3AB68}" presName="rootComposite" presStyleCnt="0"/>
      <dgm:spPr/>
    </dgm:pt>
    <dgm:pt modelId="{6E033C69-6BA8-4812-AE4E-0022A986E944}" type="pres">
      <dgm:prSet presAssocID="{A240A1E1-162D-4A6E-A806-B6FF45B3AB68}" presName="rootText" presStyleLbl="node3" presStyleIdx="7" presStyleCnt="1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0C564F4-BF5C-4321-B86B-65391CEDEFC7}" type="pres">
      <dgm:prSet presAssocID="{A240A1E1-162D-4A6E-A806-B6FF45B3AB68}" presName="rootConnector" presStyleLbl="node3" presStyleIdx="7" presStyleCnt="13"/>
      <dgm:spPr/>
      <dgm:t>
        <a:bodyPr/>
        <a:lstStyle/>
        <a:p>
          <a:endParaRPr lang="en-US"/>
        </a:p>
      </dgm:t>
    </dgm:pt>
    <dgm:pt modelId="{7C0A51FE-5187-4FBA-A9F6-DFFAA1B3DD3E}" type="pres">
      <dgm:prSet presAssocID="{A240A1E1-162D-4A6E-A806-B6FF45B3AB68}" presName="hierChild4" presStyleCnt="0"/>
      <dgm:spPr/>
    </dgm:pt>
    <dgm:pt modelId="{A5F1F6CB-B812-4FEA-ACD0-E838992C8274}" type="pres">
      <dgm:prSet presAssocID="{A240A1E1-162D-4A6E-A806-B6FF45B3AB68}" presName="hierChild5" presStyleCnt="0"/>
      <dgm:spPr/>
    </dgm:pt>
    <dgm:pt modelId="{28E82B1A-B1F2-4CC5-9B64-B60015CBF624}" type="pres">
      <dgm:prSet presAssocID="{A60BCA66-49BB-4275-9110-8B471B3FC59B}" presName="Name37" presStyleLbl="parChTrans1D3" presStyleIdx="8" presStyleCnt="13"/>
      <dgm:spPr/>
      <dgm:t>
        <a:bodyPr/>
        <a:lstStyle/>
        <a:p>
          <a:endParaRPr lang="en-US"/>
        </a:p>
      </dgm:t>
    </dgm:pt>
    <dgm:pt modelId="{B22DAA2B-22C5-4EFA-A0A6-9AD0235D2103}" type="pres">
      <dgm:prSet presAssocID="{35016019-1F0E-47A9-A9CB-AE98C0AFCFC1}" presName="hierRoot2" presStyleCnt="0">
        <dgm:presLayoutVars>
          <dgm:hierBranch val="init"/>
        </dgm:presLayoutVars>
      </dgm:prSet>
      <dgm:spPr/>
    </dgm:pt>
    <dgm:pt modelId="{514CA667-AA27-4D37-9311-1D5D85EF643D}" type="pres">
      <dgm:prSet presAssocID="{35016019-1F0E-47A9-A9CB-AE98C0AFCFC1}" presName="rootComposite" presStyleCnt="0"/>
      <dgm:spPr/>
    </dgm:pt>
    <dgm:pt modelId="{428A54D9-43F6-47B6-B3A2-FDCE09CB5A97}" type="pres">
      <dgm:prSet presAssocID="{35016019-1F0E-47A9-A9CB-AE98C0AFCFC1}" presName="rootText" presStyleLbl="node3" presStyleIdx="8" presStyleCnt="1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1DAB6FE-4097-4695-9397-7DCCE262634B}" type="pres">
      <dgm:prSet presAssocID="{35016019-1F0E-47A9-A9CB-AE98C0AFCFC1}" presName="rootConnector" presStyleLbl="node3" presStyleIdx="8" presStyleCnt="13"/>
      <dgm:spPr/>
      <dgm:t>
        <a:bodyPr/>
        <a:lstStyle/>
        <a:p>
          <a:endParaRPr lang="en-US"/>
        </a:p>
      </dgm:t>
    </dgm:pt>
    <dgm:pt modelId="{F4CC167B-F2F2-455C-9A45-823F18AFEF9A}" type="pres">
      <dgm:prSet presAssocID="{35016019-1F0E-47A9-A9CB-AE98C0AFCFC1}" presName="hierChild4" presStyleCnt="0"/>
      <dgm:spPr/>
    </dgm:pt>
    <dgm:pt modelId="{A5D0575B-48E0-4A98-88E8-8B4961A6F762}" type="pres">
      <dgm:prSet presAssocID="{35016019-1F0E-47A9-A9CB-AE98C0AFCFC1}" presName="hierChild5" presStyleCnt="0"/>
      <dgm:spPr/>
    </dgm:pt>
    <dgm:pt modelId="{11628582-088E-42FA-B6EC-953F652565B0}" type="pres">
      <dgm:prSet presAssocID="{9275B05E-F520-4192-9B33-84AEEBC3F62D}" presName="Name37" presStyleLbl="parChTrans1D3" presStyleIdx="9" presStyleCnt="13"/>
      <dgm:spPr/>
      <dgm:t>
        <a:bodyPr/>
        <a:lstStyle/>
        <a:p>
          <a:endParaRPr lang="en-US"/>
        </a:p>
      </dgm:t>
    </dgm:pt>
    <dgm:pt modelId="{7E6CA653-D7FD-4B20-AE44-C1F44E30C01B}" type="pres">
      <dgm:prSet presAssocID="{49742260-F14F-4BCB-8D88-ADD2EB5024EC}" presName="hierRoot2" presStyleCnt="0">
        <dgm:presLayoutVars>
          <dgm:hierBranch val="init"/>
        </dgm:presLayoutVars>
      </dgm:prSet>
      <dgm:spPr/>
    </dgm:pt>
    <dgm:pt modelId="{E179F35A-A640-480A-9C40-3D39813B5DA3}" type="pres">
      <dgm:prSet presAssocID="{49742260-F14F-4BCB-8D88-ADD2EB5024EC}" presName="rootComposite" presStyleCnt="0"/>
      <dgm:spPr/>
    </dgm:pt>
    <dgm:pt modelId="{93507A0E-B606-4F7A-9C01-283769128FF2}" type="pres">
      <dgm:prSet presAssocID="{49742260-F14F-4BCB-8D88-ADD2EB5024EC}" presName="rootText" presStyleLbl="node3" presStyleIdx="9" presStyleCnt="1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A7ED8CE-14CF-4D38-BE63-D19E93618025}" type="pres">
      <dgm:prSet presAssocID="{49742260-F14F-4BCB-8D88-ADD2EB5024EC}" presName="rootConnector" presStyleLbl="node3" presStyleIdx="9" presStyleCnt="13"/>
      <dgm:spPr/>
      <dgm:t>
        <a:bodyPr/>
        <a:lstStyle/>
        <a:p>
          <a:endParaRPr lang="en-US"/>
        </a:p>
      </dgm:t>
    </dgm:pt>
    <dgm:pt modelId="{D06BFE77-47E2-4E99-9240-F26F88BFBEAB}" type="pres">
      <dgm:prSet presAssocID="{49742260-F14F-4BCB-8D88-ADD2EB5024EC}" presName="hierChild4" presStyleCnt="0"/>
      <dgm:spPr/>
    </dgm:pt>
    <dgm:pt modelId="{801CA00E-B2B0-4EC5-9889-E9E28C332373}" type="pres">
      <dgm:prSet presAssocID="{49742260-F14F-4BCB-8D88-ADD2EB5024EC}" presName="hierChild5" presStyleCnt="0"/>
      <dgm:spPr/>
    </dgm:pt>
    <dgm:pt modelId="{528156B2-647C-44D5-ABAD-EBDCDF85B348}" type="pres">
      <dgm:prSet presAssocID="{1CE2D78B-C788-472A-8424-7F9A4AB5205E}" presName="hierChild5" presStyleCnt="0"/>
      <dgm:spPr/>
    </dgm:pt>
    <dgm:pt modelId="{B562ECC0-9994-4B01-9E77-D5C13C496118}" type="pres">
      <dgm:prSet presAssocID="{54165FB5-F7A3-4BBF-B199-2BE2BA410DE8}" presName="Name37" presStyleLbl="parChTrans1D2" presStyleIdx="3" presStyleCnt="4"/>
      <dgm:spPr/>
      <dgm:t>
        <a:bodyPr/>
        <a:lstStyle/>
        <a:p>
          <a:endParaRPr lang="en-US"/>
        </a:p>
      </dgm:t>
    </dgm:pt>
    <dgm:pt modelId="{E18799E9-9DA7-423F-B7B3-369EFE76B3B6}" type="pres">
      <dgm:prSet presAssocID="{C35FC96E-9015-4790-BDC3-6E0D4D502FCB}" presName="hierRoot2" presStyleCnt="0">
        <dgm:presLayoutVars>
          <dgm:hierBranch val="init"/>
        </dgm:presLayoutVars>
      </dgm:prSet>
      <dgm:spPr/>
    </dgm:pt>
    <dgm:pt modelId="{354F8417-6C70-4131-8450-E52EDD2EFA17}" type="pres">
      <dgm:prSet presAssocID="{C35FC96E-9015-4790-BDC3-6E0D4D502FCB}" presName="rootComposite" presStyleCnt="0"/>
      <dgm:spPr/>
    </dgm:pt>
    <dgm:pt modelId="{67A44139-B3F0-4118-89E8-A44A0D503C36}" type="pres">
      <dgm:prSet presAssocID="{C35FC96E-9015-4790-BDC3-6E0D4D502FCB}" presName="rootText" presStyleLbl="node2" presStyleIdx="3" presStyleCnt="4" custLinFactNeighborX="2761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2267437-59D9-4F70-9854-AF295901641A}" type="pres">
      <dgm:prSet presAssocID="{C35FC96E-9015-4790-BDC3-6E0D4D502FCB}" presName="rootConnector" presStyleLbl="node2" presStyleIdx="3" presStyleCnt="4"/>
      <dgm:spPr/>
      <dgm:t>
        <a:bodyPr/>
        <a:lstStyle/>
        <a:p>
          <a:endParaRPr lang="en-US"/>
        </a:p>
      </dgm:t>
    </dgm:pt>
    <dgm:pt modelId="{A6AF8EE9-DBFC-447B-8940-E76A065FD97B}" type="pres">
      <dgm:prSet presAssocID="{C35FC96E-9015-4790-BDC3-6E0D4D502FCB}" presName="hierChild4" presStyleCnt="0"/>
      <dgm:spPr/>
    </dgm:pt>
    <dgm:pt modelId="{2BC6CEE4-3F67-4FA6-8639-65EC4CCFF4D9}" type="pres">
      <dgm:prSet presAssocID="{4E25AF54-5C18-4905-8913-7D1EA2AC6905}" presName="Name37" presStyleLbl="parChTrans1D3" presStyleIdx="10" presStyleCnt="13"/>
      <dgm:spPr/>
      <dgm:t>
        <a:bodyPr/>
        <a:lstStyle/>
        <a:p>
          <a:endParaRPr lang="en-US"/>
        </a:p>
      </dgm:t>
    </dgm:pt>
    <dgm:pt modelId="{56EAD692-CF12-4F08-9E91-48B2A708FB71}" type="pres">
      <dgm:prSet presAssocID="{AFCA2418-8D6B-4E9C-BE52-FC74C908050F}" presName="hierRoot2" presStyleCnt="0">
        <dgm:presLayoutVars>
          <dgm:hierBranch val="init"/>
        </dgm:presLayoutVars>
      </dgm:prSet>
      <dgm:spPr/>
    </dgm:pt>
    <dgm:pt modelId="{17485795-B1F1-44AB-A6F9-533EF86E010F}" type="pres">
      <dgm:prSet presAssocID="{AFCA2418-8D6B-4E9C-BE52-FC74C908050F}" presName="rootComposite" presStyleCnt="0"/>
      <dgm:spPr/>
    </dgm:pt>
    <dgm:pt modelId="{1B4F947A-69EB-46FF-A1EA-7664283D213E}" type="pres">
      <dgm:prSet presAssocID="{AFCA2418-8D6B-4E9C-BE52-FC74C908050F}" presName="rootText" presStyleLbl="node3" presStyleIdx="10" presStyleCnt="13" custScaleX="167040" custScaleY="138944" custLinFactNeighborX="2761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553D0C6-AEE4-4F65-8DAC-62449D94D6A7}" type="pres">
      <dgm:prSet presAssocID="{AFCA2418-8D6B-4E9C-BE52-FC74C908050F}" presName="rootConnector" presStyleLbl="node3" presStyleIdx="10" presStyleCnt="13"/>
      <dgm:spPr/>
      <dgm:t>
        <a:bodyPr/>
        <a:lstStyle/>
        <a:p>
          <a:endParaRPr lang="en-US"/>
        </a:p>
      </dgm:t>
    </dgm:pt>
    <dgm:pt modelId="{704B6FE3-1A93-464C-BD7D-26786EA03069}" type="pres">
      <dgm:prSet presAssocID="{AFCA2418-8D6B-4E9C-BE52-FC74C908050F}" presName="hierChild4" presStyleCnt="0"/>
      <dgm:spPr/>
    </dgm:pt>
    <dgm:pt modelId="{DA9CB0A7-0D84-4FCC-8CAA-C663566F179D}" type="pres">
      <dgm:prSet presAssocID="{AFCA2418-8D6B-4E9C-BE52-FC74C908050F}" presName="hierChild5" presStyleCnt="0"/>
      <dgm:spPr/>
    </dgm:pt>
    <dgm:pt modelId="{981682D2-6375-4500-994F-C7CC83594561}" type="pres">
      <dgm:prSet presAssocID="{645C00E4-762B-4277-AD48-4328B4AF7430}" presName="Name37" presStyleLbl="parChTrans1D3" presStyleIdx="11" presStyleCnt="13"/>
      <dgm:spPr/>
      <dgm:t>
        <a:bodyPr/>
        <a:lstStyle/>
        <a:p>
          <a:endParaRPr lang="en-US"/>
        </a:p>
      </dgm:t>
    </dgm:pt>
    <dgm:pt modelId="{5AD24796-DC78-4C67-B9F3-06DC4CB79087}" type="pres">
      <dgm:prSet presAssocID="{C6E107C8-C87F-4E03-9C51-3B0FC309122B}" presName="hierRoot2" presStyleCnt="0">
        <dgm:presLayoutVars>
          <dgm:hierBranch val="init"/>
        </dgm:presLayoutVars>
      </dgm:prSet>
      <dgm:spPr/>
    </dgm:pt>
    <dgm:pt modelId="{0E2F19BE-3966-4520-8470-5F47706807ED}" type="pres">
      <dgm:prSet presAssocID="{C6E107C8-C87F-4E03-9C51-3B0FC309122B}" presName="rootComposite" presStyleCnt="0"/>
      <dgm:spPr/>
    </dgm:pt>
    <dgm:pt modelId="{78B1DB83-1FBB-4B72-AADA-6CBB1DAEF356}" type="pres">
      <dgm:prSet presAssocID="{C6E107C8-C87F-4E03-9C51-3B0FC309122B}" presName="rootText" presStyleLbl="node3" presStyleIdx="11" presStyleCnt="13" custScaleX="182665" custLinFactNeighborX="2761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B23809A-293F-4A54-B283-6C2D984F118D}" type="pres">
      <dgm:prSet presAssocID="{C6E107C8-C87F-4E03-9C51-3B0FC309122B}" presName="rootConnector" presStyleLbl="node3" presStyleIdx="11" presStyleCnt="13"/>
      <dgm:spPr/>
      <dgm:t>
        <a:bodyPr/>
        <a:lstStyle/>
        <a:p>
          <a:endParaRPr lang="en-US"/>
        </a:p>
      </dgm:t>
    </dgm:pt>
    <dgm:pt modelId="{9F248D76-C2BC-4060-8C04-B530C444F409}" type="pres">
      <dgm:prSet presAssocID="{C6E107C8-C87F-4E03-9C51-3B0FC309122B}" presName="hierChild4" presStyleCnt="0"/>
      <dgm:spPr/>
    </dgm:pt>
    <dgm:pt modelId="{6105CD00-5C50-452A-994E-5B0FFFC4DA91}" type="pres">
      <dgm:prSet presAssocID="{C6E107C8-C87F-4E03-9C51-3B0FC309122B}" presName="hierChild5" presStyleCnt="0"/>
      <dgm:spPr/>
    </dgm:pt>
    <dgm:pt modelId="{AD70828E-DDD4-480C-BDFF-1E596F6615D1}" type="pres">
      <dgm:prSet presAssocID="{28774598-E592-4921-B255-0225EB6D096E}" presName="Name37" presStyleLbl="parChTrans1D3" presStyleIdx="12" presStyleCnt="13"/>
      <dgm:spPr/>
      <dgm:t>
        <a:bodyPr/>
        <a:lstStyle/>
        <a:p>
          <a:endParaRPr lang="en-US"/>
        </a:p>
      </dgm:t>
    </dgm:pt>
    <dgm:pt modelId="{147EF30B-BA3D-4473-9AD2-CC7014F27C11}" type="pres">
      <dgm:prSet presAssocID="{09967023-FD4B-4E34-A1C9-A393B75E32BA}" presName="hierRoot2" presStyleCnt="0">
        <dgm:presLayoutVars>
          <dgm:hierBranch val="init"/>
        </dgm:presLayoutVars>
      </dgm:prSet>
      <dgm:spPr/>
    </dgm:pt>
    <dgm:pt modelId="{77306BB1-6CDB-40C5-85B1-4980890A9206}" type="pres">
      <dgm:prSet presAssocID="{09967023-FD4B-4E34-A1C9-A393B75E32BA}" presName="rootComposite" presStyleCnt="0"/>
      <dgm:spPr/>
    </dgm:pt>
    <dgm:pt modelId="{43C79B55-7800-4403-B3B4-49E5363FFF1E}" type="pres">
      <dgm:prSet presAssocID="{09967023-FD4B-4E34-A1C9-A393B75E32BA}" presName="rootText" presStyleLbl="node3" presStyleIdx="12" presStyleCnt="13" custScaleX="178849" custLinFactNeighborX="2761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D009694-C9A9-4545-B9B4-AE343C4C6314}" type="pres">
      <dgm:prSet presAssocID="{09967023-FD4B-4E34-A1C9-A393B75E32BA}" presName="rootConnector" presStyleLbl="node3" presStyleIdx="12" presStyleCnt="13"/>
      <dgm:spPr/>
      <dgm:t>
        <a:bodyPr/>
        <a:lstStyle/>
        <a:p>
          <a:endParaRPr lang="en-US"/>
        </a:p>
      </dgm:t>
    </dgm:pt>
    <dgm:pt modelId="{E7CAB4B1-64D6-4507-9B2D-46604CB6848C}" type="pres">
      <dgm:prSet presAssocID="{09967023-FD4B-4E34-A1C9-A393B75E32BA}" presName="hierChild4" presStyleCnt="0"/>
      <dgm:spPr/>
    </dgm:pt>
    <dgm:pt modelId="{283463B1-15A6-4BEF-B96E-DE2502D9F6DF}" type="pres">
      <dgm:prSet presAssocID="{09967023-FD4B-4E34-A1C9-A393B75E32BA}" presName="hierChild5" presStyleCnt="0"/>
      <dgm:spPr/>
    </dgm:pt>
    <dgm:pt modelId="{430C728D-004C-49FD-A0C1-71CD6E772786}" type="pres">
      <dgm:prSet presAssocID="{C35FC96E-9015-4790-BDC3-6E0D4D502FCB}" presName="hierChild5" presStyleCnt="0"/>
      <dgm:spPr/>
    </dgm:pt>
    <dgm:pt modelId="{B87F60ED-85BE-4872-BA6E-CDCB9CBDC6A3}" type="pres">
      <dgm:prSet presAssocID="{43BDC9E6-B3ED-4E11-B81F-A36F96CA06AD}" presName="hierChild3" presStyleCnt="0"/>
      <dgm:spPr/>
    </dgm:pt>
  </dgm:ptLst>
  <dgm:cxnLst>
    <dgm:cxn modelId="{06E71150-3811-4FC5-8858-0203DD6C998E}" srcId="{E420C67E-C4C2-476B-9B47-FFB47D587009}" destId="{2F6572D1-3E4E-41CC-B816-15F6AA753750}" srcOrd="2" destOrd="0" parTransId="{453F9760-1876-428B-8CB6-DA8F60516D89}" sibTransId="{F36BC338-6ADD-4D27-8F50-A2943AF092AF}"/>
    <dgm:cxn modelId="{AF611182-AAE8-4190-BE35-A2473E50306B}" srcId="{C35FC96E-9015-4790-BDC3-6E0D4D502FCB}" destId="{C6E107C8-C87F-4E03-9C51-3B0FC309122B}" srcOrd="1" destOrd="0" parTransId="{645C00E4-762B-4277-AD48-4328B4AF7430}" sibTransId="{E622C44F-BC5B-49E7-9D58-720E5F6040E1}"/>
    <dgm:cxn modelId="{2648CEB6-4DB9-42A6-B700-4831395E15AC}" srcId="{843E3B21-DC9F-4CF8-A7F1-93BF704E47A7}" destId="{7D7C3FA2-CE75-4B7D-A218-416906B8D917}" srcOrd="1" destOrd="0" parTransId="{14236E25-24F5-4DBC-8E23-FED5A30DEF0E}" sibTransId="{FB40D391-DB77-4C2C-BDCE-7A207CEAE6FE}"/>
    <dgm:cxn modelId="{EF17C288-FABF-470A-9F6E-6F1AC60C08BE}" srcId="{E420C67E-C4C2-476B-9B47-FFB47D587009}" destId="{0216D3CF-84E5-4443-8082-6C6C297E9A4D}" srcOrd="0" destOrd="0" parTransId="{C3334397-F4C9-43FD-9DE7-786437A51BF8}" sibTransId="{9C27E3D0-AEBB-4C4C-AFEA-8F9AF608B21E}"/>
    <dgm:cxn modelId="{440DF957-36E9-48DD-BE85-50BB2B86C969}" type="presOf" srcId="{9275B05E-F520-4192-9B33-84AEEBC3F62D}" destId="{11628582-088E-42FA-B6EC-953F652565B0}" srcOrd="0" destOrd="0" presId="urn:microsoft.com/office/officeart/2005/8/layout/orgChart1"/>
    <dgm:cxn modelId="{00C79881-D89B-429D-B5E4-9D4FF689FE67}" type="presOf" srcId="{28774598-E592-4921-B255-0225EB6D096E}" destId="{AD70828E-DDD4-480C-BDFF-1E596F6615D1}" srcOrd="0" destOrd="0" presId="urn:microsoft.com/office/officeart/2005/8/layout/orgChart1"/>
    <dgm:cxn modelId="{A0E66910-A417-4433-846A-E364FADC3533}" srcId="{1CE2D78B-C788-472A-8424-7F9A4AB5205E}" destId="{49742260-F14F-4BCB-8D88-ADD2EB5024EC}" srcOrd="2" destOrd="0" parTransId="{9275B05E-F520-4192-9B33-84AEEBC3F62D}" sibTransId="{BDB94797-518D-4543-8D6F-13596FEC7A22}"/>
    <dgm:cxn modelId="{C69FB214-5368-47A7-882B-49D1E27BB9A3}" type="presOf" srcId="{49742260-F14F-4BCB-8D88-ADD2EB5024EC}" destId="{FA7ED8CE-14CF-4D38-BE63-D19E93618025}" srcOrd="1" destOrd="0" presId="urn:microsoft.com/office/officeart/2005/8/layout/orgChart1"/>
    <dgm:cxn modelId="{AE75F282-9DE2-434A-9876-80EEF3E37C10}" type="presOf" srcId="{9B931718-FC68-4B2E-9854-492BCFE6FE83}" destId="{700B55C8-272E-490B-AB5F-A5C6369E8C79}" srcOrd="1" destOrd="0" presId="urn:microsoft.com/office/officeart/2005/8/layout/orgChart1"/>
    <dgm:cxn modelId="{DE1530EA-DC96-4C57-B6F4-702E95CBBDD6}" type="presOf" srcId="{A26E1133-27F8-42A1-91FE-23383B9ACC99}" destId="{E9F5810C-05C5-4937-8779-609DD6BD5CFD}" srcOrd="0" destOrd="0" presId="urn:microsoft.com/office/officeart/2005/8/layout/orgChart1"/>
    <dgm:cxn modelId="{613736DA-DB33-4466-AC63-3F776406A4B0}" type="presOf" srcId="{E420C67E-C4C2-476B-9B47-FFB47D587009}" destId="{F0ED6141-24DB-4164-A2D4-B51E750525CD}" srcOrd="0" destOrd="0" presId="urn:microsoft.com/office/officeart/2005/8/layout/orgChart1"/>
    <dgm:cxn modelId="{12F1A69F-16F5-4CB0-A1BA-A469224D2798}" type="presOf" srcId="{35016019-1F0E-47A9-A9CB-AE98C0AFCFC1}" destId="{428A54D9-43F6-47B6-B3A2-FDCE09CB5A97}" srcOrd="0" destOrd="0" presId="urn:microsoft.com/office/officeart/2005/8/layout/orgChart1"/>
    <dgm:cxn modelId="{0024AF54-502E-4A67-B8F1-76C670AF3C61}" type="presOf" srcId="{62301F5E-BDD5-4369-B9CF-5999FECA1C85}" destId="{FE10A4AF-D8A8-4F2D-9661-56E5DBB5B2C5}" srcOrd="0" destOrd="0" presId="urn:microsoft.com/office/officeart/2005/8/layout/orgChart1"/>
    <dgm:cxn modelId="{F20AC33C-20C8-45F3-9B0B-291388968C2E}" type="presOf" srcId="{843E3B21-DC9F-4CF8-A7F1-93BF704E47A7}" destId="{AB22B6A5-BFAD-4E5F-BED0-C002FA69FEEF}" srcOrd="1" destOrd="0" presId="urn:microsoft.com/office/officeart/2005/8/layout/orgChart1"/>
    <dgm:cxn modelId="{709D4CAE-8F77-4596-AEE3-56CB539A1B89}" type="presOf" srcId="{6ED4E1AA-EFDD-4E70-836E-3DB36084DE98}" destId="{C137CAE9-66E1-459B-A733-9B53B02E07AF}" srcOrd="0" destOrd="0" presId="urn:microsoft.com/office/officeart/2005/8/layout/orgChart1"/>
    <dgm:cxn modelId="{DB925F6A-7761-4D5E-84C9-D63652FE2570}" srcId="{C35FC96E-9015-4790-BDC3-6E0D4D502FCB}" destId="{09967023-FD4B-4E34-A1C9-A393B75E32BA}" srcOrd="2" destOrd="0" parTransId="{28774598-E592-4921-B255-0225EB6D096E}" sibTransId="{0B7B4A03-7BEB-45DD-A62C-7505C5BC4A5B}"/>
    <dgm:cxn modelId="{CE1A387C-5613-4FCD-B4CF-ADB2BC3D131F}" type="presOf" srcId="{4E25AF54-5C18-4905-8913-7D1EA2AC6905}" destId="{2BC6CEE4-3F67-4FA6-8639-65EC4CCFF4D9}" srcOrd="0" destOrd="0" presId="urn:microsoft.com/office/officeart/2005/8/layout/orgChart1"/>
    <dgm:cxn modelId="{0AADBE0A-18F3-462F-9250-69A26D863AE8}" type="presOf" srcId="{0216D3CF-84E5-4443-8082-6C6C297E9A4D}" destId="{CF9F174C-7D69-49F6-A7FE-7ED9990EB82A}" srcOrd="1" destOrd="0" presId="urn:microsoft.com/office/officeart/2005/8/layout/orgChart1"/>
    <dgm:cxn modelId="{E1ADB32F-E770-4104-A3DE-2AF87E5555D8}" type="presOf" srcId="{C35FC96E-9015-4790-BDC3-6E0D4D502FCB}" destId="{B2267437-59D9-4F70-9854-AF295901641A}" srcOrd="1" destOrd="0" presId="urn:microsoft.com/office/officeart/2005/8/layout/orgChart1"/>
    <dgm:cxn modelId="{9FD85B83-31EF-490F-9F6F-6396FCACDF38}" type="presOf" srcId="{35016019-1F0E-47A9-A9CB-AE98C0AFCFC1}" destId="{31DAB6FE-4097-4695-9397-7DCCE262634B}" srcOrd="1" destOrd="0" presId="urn:microsoft.com/office/officeart/2005/8/layout/orgChart1"/>
    <dgm:cxn modelId="{F0C0AED6-3BFB-430A-84C4-C1842ECA49F1}" srcId="{1CE2D78B-C788-472A-8424-7F9A4AB5205E}" destId="{35016019-1F0E-47A9-A9CB-AE98C0AFCFC1}" srcOrd="1" destOrd="0" parTransId="{A60BCA66-49BB-4275-9110-8B471B3FC59B}" sibTransId="{549EC933-326F-43C6-A4AD-B0C6604A5CF9}"/>
    <dgm:cxn modelId="{4EC0B6F0-7B4C-49D0-B1E9-35E62696BEC9}" type="presOf" srcId="{453F9760-1876-428B-8CB6-DA8F60516D89}" destId="{1D4D3FE4-1739-4B3C-ACD2-597D18FBC50F}" srcOrd="0" destOrd="0" presId="urn:microsoft.com/office/officeart/2005/8/layout/orgChart1"/>
    <dgm:cxn modelId="{CAE36972-F6C5-4235-8B8A-A20963F04513}" type="presOf" srcId="{90833815-F732-45AF-B735-7A208BE16A8A}" destId="{5D0F02D1-4A23-4B53-AF4F-3529BE69829E}" srcOrd="0" destOrd="0" presId="urn:microsoft.com/office/officeart/2005/8/layout/orgChart1"/>
    <dgm:cxn modelId="{F5B410B0-7AE9-433F-8D63-364A5BFB9EA1}" type="presOf" srcId="{3EEFE082-C4FA-499A-BA01-E4B8217A4B73}" destId="{A3BC68A0-CABF-4126-884C-C90818E1E26E}" srcOrd="0" destOrd="0" presId="urn:microsoft.com/office/officeart/2005/8/layout/orgChart1"/>
    <dgm:cxn modelId="{5541C147-0EB4-4A3B-97E6-05EE045D87EC}" type="presOf" srcId="{9B931718-FC68-4B2E-9854-492BCFE6FE83}" destId="{984A4F3B-0A00-4E5A-9092-1922B8A7FAB3}" srcOrd="0" destOrd="0" presId="urn:microsoft.com/office/officeart/2005/8/layout/orgChart1"/>
    <dgm:cxn modelId="{6456EBC6-8632-4619-81A6-B242D891C6AD}" type="presOf" srcId="{7D7C3FA2-CE75-4B7D-A218-416906B8D917}" destId="{63F8734B-291F-4EE9-8AEC-5D7130065FE8}" srcOrd="1" destOrd="0" presId="urn:microsoft.com/office/officeart/2005/8/layout/orgChart1"/>
    <dgm:cxn modelId="{5EC4BA0B-5D8C-4A11-B020-7A84325BD843}" type="presOf" srcId="{C6E107C8-C87F-4E03-9C51-3B0FC309122B}" destId="{BB23809A-293F-4A54-B283-6C2D984F118D}" srcOrd="1" destOrd="0" presId="urn:microsoft.com/office/officeart/2005/8/layout/orgChart1"/>
    <dgm:cxn modelId="{C159F786-ED38-476E-9CAF-598C4BA6A40C}" srcId="{43BDC9E6-B3ED-4E11-B81F-A36F96CA06AD}" destId="{C35FC96E-9015-4790-BDC3-6E0D4D502FCB}" srcOrd="3" destOrd="0" parTransId="{54165FB5-F7A3-4BBF-B199-2BE2BA410DE8}" sibTransId="{599E3296-C316-405C-B222-CEA737D995B5}"/>
    <dgm:cxn modelId="{58A6F6CE-6C69-4CD6-BE17-FA25CF74E208}" type="presOf" srcId="{A240A1E1-162D-4A6E-A806-B6FF45B3AB68}" destId="{20C564F4-BF5C-4321-B86B-65391CEDEFC7}" srcOrd="1" destOrd="0" presId="urn:microsoft.com/office/officeart/2005/8/layout/orgChart1"/>
    <dgm:cxn modelId="{D59AEF3B-7664-413A-878F-B1500FA29E25}" type="presOf" srcId="{2F6572D1-3E4E-41CC-B816-15F6AA753750}" destId="{7BABB840-5689-4566-85C9-55C4A127C4C6}" srcOrd="0" destOrd="0" presId="urn:microsoft.com/office/officeart/2005/8/layout/orgChart1"/>
    <dgm:cxn modelId="{54ADE078-618E-4AC9-87E9-C4A83D31357A}" type="presOf" srcId="{645C00E4-762B-4277-AD48-4328B4AF7430}" destId="{981682D2-6375-4500-994F-C7CC83594561}" srcOrd="0" destOrd="0" presId="urn:microsoft.com/office/officeart/2005/8/layout/orgChart1"/>
    <dgm:cxn modelId="{754CF222-716A-4FA8-82D6-E0A4BD171E13}" type="presOf" srcId="{90833815-F732-45AF-B735-7A208BE16A8A}" destId="{8FF15CAA-9BF1-4437-B877-2B6831555847}" srcOrd="1" destOrd="0" presId="urn:microsoft.com/office/officeart/2005/8/layout/orgChart1"/>
    <dgm:cxn modelId="{6E2E3B55-A6EB-46D7-B7D0-04629FD4C800}" srcId="{843E3B21-DC9F-4CF8-A7F1-93BF704E47A7}" destId="{9B931718-FC68-4B2E-9854-492BCFE6FE83}" srcOrd="2" destOrd="0" parTransId="{359E2506-5D19-4F9C-8688-C666576175A9}" sibTransId="{3113A228-1208-4305-91A0-AEEDFF54B5B2}"/>
    <dgm:cxn modelId="{63EB5A4E-CEAB-4C3F-8C71-58DE10B45CA0}" type="presOf" srcId="{54165FB5-F7A3-4BBF-B199-2BE2BA410DE8}" destId="{B562ECC0-9994-4B01-9E77-D5C13C496118}" srcOrd="0" destOrd="0" presId="urn:microsoft.com/office/officeart/2005/8/layout/orgChart1"/>
    <dgm:cxn modelId="{03126FF5-61A3-4BEE-B0A8-CDAD93577C0E}" type="presOf" srcId="{09967023-FD4B-4E34-A1C9-A393B75E32BA}" destId="{FD009694-C9A9-4545-B9B4-AE343C4C6314}" srcOrd="1" destOrd="0" presId="urn:microsoft.com/office/officeart/2005/8/layout/orgChart1"/>
    <dgm:cxn modelId="{3560D2F8-835D-4C72-B9E2-A57603ADDD98}" type="presOf" srcId="{C3334397-F4C9-43FD-9DE7-786437A51BF8}" destId="{CC07306D-4BD7-4477-BB61-A954489058D6}" srcOrd="0" destOrd="0" presId="urn:microsoft.com/office/officeart/2005/8/layout/orgChart1"/>
    <dgm:cxn modelId="{4B6C75C1-03F6-4B61-B9BC-30097D663504}" type="presOf" srcId="{09967023-FD4B-4E34-A1C9-A393B75E32BA}" destId="{43C79B55-7800-4403-B3B4-49E5363FFF1E}" srcOrd="0" destOrd="0" presId="urn:microsoft.com/office/officeart/2005/8/layout/orgChart1"/>
    <dgm:cxn modelId="{2AC6A1A2-FDAF-4C07-BF93-78DC05214544}" srcId="{43BDC9E6-B3ED-4E11-B81F-A36F96CA06AD}" destId="{E420C67E-C4C2-476B-9B47-FFB47D587009}" srcOrd="1" destOrd="0" parTransId="{65D088B7-B36E-49AA-84B9-2BC51B326EA1}" sibTransId="{7CC715FB-928E-4CFE-A8F5-045F16B2D743}"/>
    <dgm:cxn modelId="{2A73145E-5A9D-4C88-B515-ACDC9DC10D41}" type="presOf" srcId="{E420C67E-C4C2-476B-9B47-FFB47D587009}" destId="{45256018-C335-4CDB-9EC5-7AE2ABAC1E00}" srcOrd="1" destOrd="0" presId="urn:microsoft.com/office/officeart/2005/8/layout/orgChart1"/>
    <dgm:cxn modelId="{403BCB1F-8E6B-4C8F-AA14-894991EF831B}" type="presOf" srcId="{3722DDF4-26E2-4422-A516-DEEAC3ECF65B}" destId="{A83ED5F7-10A0-45C9-B814-5804FA76917E}" srcOrd="0" destOrd="0" presId="urn:microsoft.com/office/officeart/2005/8/layout/orgChart1"/>
    <dgm:cxn modelId="{13449FB4-DEC6-4F50-9ADF-2D3EDE3406ED}" type="presOf" srcId="{720AE7B9-47AD-4FF9-8447-DF1B8C5FD193}" destId="{1064D61A-5C37-497D-A6F5-6312AB6E3F5A}" srcOrd="0" destOrd="0" presId="urn:microsoft.com/office/officeart/2005/8/layout/orgChart1"/>
    <dgm:cxn modelId="{EA34E106-20AA-400F-A609-670B50AC662A}" type="presOf" srcId="{14236E25-24F5-4DBC-8E23-FED5A30DEF0E}" destId="{A2B3E9C0-0CE1-4B88-9E71-F7CE1A7F99D7}" srcOrd="0" destOrd="0" presId="urn:microsoft.com/office/officeart/2005/8/layout/orgChart1"/>
    <dgm:cxn modelId="{C7B12242-93F1-42B1-8149-73B2BE7E9DC0}" srcId="{843E3B21-DC9F-4CF8-A7F1-93BF704E47A7}" destId="{720AE7B9-47AD-4FF9-8447-DF1B8C5FD193}" srcOrd="0" destOrd="0" parTransId="{3722DDF4-26E2-4422-A516-DEEAC3ECF65B}" sibTransId="{D7F902F3-F976-415B-98C3-59057320C539}"/>
    <dgm:cxn modelId="{C8E873F1-51E3-43D8-A7D2-350B287DFC3E}" type="presOf" srcId="{7D7C3FA2-CE75-4B7D-A218-416906B8D917}" destId="{A77E27D0-EFD7-495B-9E1A-5A5371B8AB84}" srcOrd="0" destOrd="0" presId="urn:microsoft.com/office/officeart/2005/8/layout/orgChart1"/>
    <dgm:cxn modelId="{CE692DDB-8D4E-4AFC-8852-B78C7F2EC879}" type="presOf" srcId="{CFEBB133-5D80-4E9D-815E-BA7E2B5804D2}" destId="{50D60845-A14B-4DD0-8DB4-8B07FEB31A21}" srcOrd="0" destOrd="0" presId="urn:microsoft.com/office/officeart/2005/8/layout/orgChart1"/>
    <dgm:cxn modelId="{E040E2E2-F016-4F82-9927-EA3D62DA0F57}" srcId="{A26E1133-27F8-42A1-91FE-23383B9ACC99}" destId="{43BDC9E6-B3ED-4E11-B81F-A36F96CA06AD}" srcOrd="0" destOrd="0" parTransId="{818B4425-229C-4D05-BD73-F2583AB7B9C5}" sibTransId="{A3D2AA9D-1D2C-45CA-9A99-0FD9E343747F}"/>
    <dgm:cxn modelId="{0E94613B-1CE1-437B-8AA3-FA9C1C981FDA}" type="presOf" srcId="{CFEBB133-5D80-4E9D-815E-BA7E2B5804D2}" destId="{F55C39B9-C17D-4782-B68D-D9F73AAEE095}" srcOrd="1" destOrd="0" presId="urn:microsoft.com/office/officeart/2005/8/layout/orgChart1"/>
    <dgm:cxn modelId="{3C110BFF-FD87-473E-9985-0D9D761E60BD}" srcId="{43BDC9E6-B3ED-4E11-B81F-A36F96CA06AD}" destId="{843E3B21-DC9F-4CF8-A7F1-93BF704E47A7}" srcOrd="0" destOrd="0" parTransId="{3EEFE082-C4FA-499A-BA01-E4B8217A4B73}" sibTransId="{2992CB8F-FBF4-486F-BE86-7AEC96D28238}"/>
    <dgm:cxn modelId="{0D252A7C-EA88-478B-9AB7-96B65AE1E68A}" srcId="{43BDC9E6-B3ED-4E11-B81F-A36F96CA06AD}" destId="{1CE2D78B-C788-472A-8424-7F9A4AB5205E}" srcOrd="2" destOrd="0" parTransId="{6ED4E1AA-EFDD-4E70-836E-3DB36084DE98}" sibTransId="{1D0F051B-C9A8-457A-BE08-985EF4C28172}"/>
    <dgm:cxn modelId="{CDA480B8-141C-491C-9D82-9A15BB2A437F}" type="presOf" srcId="{2F6572D1-3E4E-41CC-B816-15F6AA753750}" destId="{C3C99CCA-0A47-4420-ABC8-53654C0C3796}" srcOrd="1" destOrd="0" presId="urn:microsoft.com/office/officeart/2005/8/layout/orgChart1"/>
    <dgm:cxn modelId="{CCB5AE26-70F4-4C5B-B53D-136E39A12AC5}" srcId="{1CE2D78B-C788-472A-8424-7F9A4AB5205E}" destId="{A240A1E1-162D-4A6E-A806-B6FF45B3AB68}" srcOrd="0" destOrd="0" parTransId="{F0BD47AB-7AC9-40A2-A96D-1A911EFDE7FF}" sibTransId="{A12D77FB-8453-4F78-A007-65AD68966259}"/>
    <dgm:cxn modelId="{58FBF368-53DF-4F46-93C5-2FD760B0BBA5}" type="presOf" srcId="{A240A1E1-162D-4A6E-A806-B6FF45B3AB68}" destId="{6E033C69-6BA8-4812-AE4E-0022A986E944}" srcOrd="0" destOrd="0" presId="urn:microsoft.com/office/officeart/2005/8/layout/orgChart1"/>
    <dgm:cxn modelId="{F8276025-FC60-415A-BA86-FD083397342B}" type="presOf" srcId="{1CE2D78B-C788-472A-8424-7F9A4AB5205E}" destId="{A5F2589C-C16C-45F2-9A3D-F2A6CB2476D1}" srcOrd="0" destOrd="0" presId="urn:microsoft.com/office/officeart/2005/8/layout/orgChart1"/>
    <dgm:cxn modelId="{6D474EF8-23D3-4542-A1A1-7DF55FC4DF16}" type="presOf" srcId="{49742260-F14F-4BCB-8D88-ADD2EB5024EC}" destId="{93507A0E-B606-4F7A-9C01-283769128FF2}" srcOrd="0" destOrd="0" presId="urn:microsoft.com/office/officeart/2005/8/layout/orgChart1"/>
    <dgm:cxn modelId="{9DB472A3-8462-420D-89D3-889BA4CD37F5}" type="presOf" srcId="{843E3B21-DC9F-4CF8-A7F1-93BF704E47A7}" destId="{5E5C4910-D5C2-4117-9825-0F4E2308A1D4}" srcOrd="0" destOrd="0" presId="urn:microsoft.com/office/officeart/2005/8/layout/orgChart1"/>
    <dgm:cxn modelId="{73B416B2-EC99-4D03-9E18-CB99306C496A}" type="presOf" srcId="{65D088B7-B36E-49AA-84B9-2BC51B326EA1}" destId="{96956835-3386-449C-A89B-65F7C680246D}" srcOrd="0" destOrd="0" presId="urn:microsoft.com/office/officeart/2005/8/layout/orgChart1"/>
    <dgm:cxn modelId="{ADA0DC0E-D7AF-4403-A504-A5C6B3497B83}" type="presOf" srcId="{0216D3CF-84E5-4443-8082-6C6C297E9A4D}" destId="{CBCDE87F-FA6C-44B8-A9C2-1E747BE7F736}" srcOrd="0" destOrd="0" presId="urn:microsoft.com/office/officeart/2005/8/layout/orgChart1"/>
    <dgm:cxn modelId="{08DD1101-DD49-4B3D-8343-C1834E82E1AF}" type="presOf" srcId="{A60BCA66-49BB-4275-9110-8B471B3FC59B}" destId="{28E82B1A-B1F2-4CC5-9B64-B60015CBF624}" srcOrd="0" destOrd="0" presId="urn:microsoft.com/office/officeart/2005/8/layout/orgChart1"/>
    <dgm:cxn modelId="{98E55071-2D5A-4624-BFF3-A98838D1D46B}" type="presOf" srcId="{1CE2D78B-C788-472A-8424-7F9A4AB5205E}" destId="{6D7B6648-0B7F-4E1F-B6C5-CE0E2F04B9FF}" srcOrd="1" destOrd="0" presId="urn:microsoft.com/office/officeart/2005/8/layout/orgChart1"/>
    <dgm:cxn modelId="{1BD69FB5-D83E-476B-8DCA-EAEDD4925D67}" type="presOf" srcId="{720AE7B9-47AD-4FF9-8447-DF1B8C5FD193}" destId="{1D0BA542-EABF-46D4-A11D-8954A50A4A27}" srcOrd="1" destOrd="0" presId="urn:microsoft.com/office/officeart/2005/8/layout/orgChart1"/>
    <dgm:cxn modelId="{7E8A394C-0B32-41E9-BC7B-038412EB61D4}" srcId="{E420C67E-C4C2-476B-9B47-FFB47D587009}" destId="{CFEBB133-5D80-4E9D-815E-BA7E2B5804D2}" srcOrd="3" destOrd="0" parTransId="{6C5C9B86-7AAA-465B-98FF-E3F38189A3AE}" sibTransId="{7FDECB7D-540F-4AC8-A911-0EDE43878630}"/>
    <dgm:cxn modelId="{8C21F2FA-2FD4-4CBF-9A5E-FB94D62A6BDC}" type="presOf" srcId="{6C5C9B86-7AAA-465B-98FF-E3F38189A3AE}" destId="{3A94D9E8-C2A3-4765-9477-D710CC646957}" srcOrd="0" destOrd="0" presId="urn:microsoft.com/office/officeart/2005/8/layout/orgChart1"/>
    <dgm:cxn modelId="{3CB3D637-F430-4474-87EA-AA2A37092587}" type="presOf" srcId="{AFCA2418-8D6B-4E9C-BE52-FC74C908050F}" destId="{C553D0C6-AEE4-4F65-8DAC-62449D94D6A7}" srcOrd="1" destOrd="0" presId="urn:microsoft.com/office/officeart/2005/8/layout/orgChart1"/>
    <dgm:cxn modelId="{E8936F63-2D23-449F-AABE-DAD4A105E8E4}" type="presOf" srcId="{F0BD47AB-7AC9-40A2-A96D-1A911EFDE7FF}" destId="{AEDC7120-FE6F-49D8-95F2-AB1B2B6AC9A8}" srcOrd="0" destOrd="0" presId="urn:microsoft.com/office/officeart/2005/8/layout/orgChart1"/>
    <dgm:cxn modelId="{05198BC2-2BAD-4F6F-976D-D1B62D9698A4}" type="presOf" srcId="{43BDC9E6-B3ED-4E11-B81F-A36F96CA06AD}" destId="{6EF86BC6-06CE-4768-9942-F4420543D5EE}" srcOrd="1" destOrd="0" presId="urn:microsoft.com/office/officeart/2005/8/layout/orgChart1"/>
    <dgm:cxn modelId="{6F2FAD48-AAE2-4A7D-8F58-86408156DF95}" type="presOf" srcId="{AFCA2418-8D6B-4E9C-BE52-FC74C908050F}" destId="{1B4F947A-69EB-46FF-A1EA-7664283D213E}" srcOrd="0" destOrd="0" presId="urn:microsoft.com/office/officeart/2005/8/layout/orgChart1"/>
    <dgm:cxn modelId="{9BB3552C-3EE1-4FEA-B816-7403D58FD35F}" type="presOf" srcId="{43BDC9E6-B3ED-4E11-B81F-A36F96CA06AD}" destId="{1AD90FEA-3135-49C2-A3C0-CFEDDC6405B3}" srcOrd="0" destOrd="0" presId="urn:microsoft.com/office/officeart/2005/8/layout/orgChart1"/>
    <dgm:cxn modelId="{A1024CF4-88A9-4BF5-B2E0-D57BFDB47E49}" type="presOf" srcId="{C35FC96E-9015-4790-BDC3-6E0D4D502FCB}" destId="{67A44139-B3F0-4118-89E8-A44A0D503C36}" srcOrd="0" destOrd="0" presId="urn:microsoft.com/office/officeart/2005/8/layout/orgChart1"/>
    <dgm:cxn modelId="{A7DE9A7B-BB7E-4A01-93D4-CD194EADC0AB}" type="presOf" srcId="{359E2506-5D19-4F9C-8688-C666576175A9}" destId="{50C84909-550F-4BDC-8966-B86E5E1786AE}" srcOrd="0" destOrd="0" presId="urn:microsoft.com/office/officeart/2005/8/layout/orgChart1"/>
    <dgm:cxn modelId="{87161FBE-878C-4B2B-9083-302741A81C7B}" type="presOf" srcId="{C6E107C8-C87F-4E03-9C51-3B0FC309122B}" destId="{78B1DB83-1FBB-4B72-AADA-6CBB1DAEF356}" srcOrd="0" destOrd="0" presId="urn:microsoft.com/office/officeart/2005/8/layout/orgChart1"/>
    <dgm:cxn modelId="{A630084D-67F8-48A7-9951-F46F3604D1B4}" srcId="{E420C67E-C4C2-476B-9B47-FFB47D587009}" destId="{90833815-F732-45AF-B735-7A208BE16A8A}" srcOrd="1" destOrd="0" parTransId="{62301F5E-BDD5-4369-B9CF-5999FECA1C85}" sibTransId="{7A88FAF5-FAAB-4848-B347-2B42AF8023FF}"/>
    <dgm:cxn modelId="{482DB792-4616-4429-8146-834A4E403FCA}" srcId="{C35FC96E-9015-4790-BDC3-6E0D4D502FCB}" destId="{AFCA2418-8D6B-4E9C-BE52-FC74C908050F}" srcOrd="0" destOrd="0" parTransId="{4E25AF54-5C18-4905-8913-7D1EA2AC6905}" sibTransId="{2863A287-FD1D-46AB-958E-D6DB7D840902}"/>
    <dgm:cxn modelId="{C88915F9-B2C7-4E94-B84E-972C37C34E56}" type="presParOf" srcId="{E9F5810C-05C5-4937-8779-609DD6BD5CFD}" destId="{25A00B3E-FEA8-439F-999E-8DB6BC95DBC0}" srcOrd="0" destOrd="0" presId="urn:microsoft.com/office/officeart/2005/8/layout/orgChart1"/>
    <dgm:cxn modelId="{01F957F1-555D-4A03-BCC2-F7D2D161793E}" type="presParOf" srcId="{25A00B3E-FEA8-439F-999E-8DB6BC95DBC0}" destId="{305CB9B7-E4C6-453D-AC39-1DA3FA25C576}" srcOrd="0" destOrd="0" presId="urn:microsoft.com/office/officeart/2005/8/layout/orgChart1"/>
    <dgm:cxn modelId="{B89D50E5-D011-4129-9523-DFCD51194F15}" type="presParOf" srcId="{305CB9B7-E4C6-453D-AC39-1DA3FA25C576}" destId="{1AD90FEA-3135-49C2-A3C0-CFEDDC6405B3}" srcOrd="0" destOrd="0" presId="urn:microsoft.com/office/officeart/2005/8/layout/orgChart1"/>
    <dgm:cxn modelId="{A65F4E26-6F8F-42DA-B8C4-BBCD300C0EF4}" type="presParOf" srcId="{305CB9B7-E4C6-453D-AC39-1DA3FA25C576}" destId="{6EF86BC6-06CE-4768-9942-F4420543D5EE}" srcOrd="1" destOrd="0" presId="urn:microsoft.com/office/officeart/2005/8/layout/orgChart1"/>
    <dgm:cxn modelId="{762A7047-B4B1-4C3F-827F-3EF04F443F68}" type="presParOf" srcId="{25A00B3E-FEA8-439F-999E-8DB6BC95DBC0}" destId="{EC72B6B4-B63E-4FE2-8CC2-5FA221770366}" srcOrd="1" destOrd="0" presId="urn:microsoft.com/office/officeart/2005/8/layout/orgChart1"/>
    <dgm:cxn modelId="{20C03BBA-8FB6-4EF1-A4B2-D5C4CA3C67A0}" type="presParOf" srcId="{EC72B6B4-B63E-4FE2-8CC2-5FA221770366}" destId="{A3BC68A0-CABF-4126-884C-C90818E1E26E}" srcOrd="0" destOrd="0" presId="urn:microsoft.com/office/officeart/2005/8/layout/orgChart1"/>
    <dgm:cxn modelId="{758A5E49-06C1-4685-901D-9C56B29AD495}" type="presParOf" srcId="{EC72B6B4-B63E-4FE2-8CC2-5FA221770366}" destId="{9B84C5AA-6259-445A-8F7A-6D366FCBB4AD}" srcOrd="1" destOrd="0" presId="urn:microsoft.com/office/officeart/2005/8/layout/orgChart1"/>
    <dgm:cxn modelId="{5CE175FE-07E6-47A8-A4DF-A539EC5E35B9}" type="presParOf" srcId="{9B84C5AA-6259-445A-8F7A-6D366FCBB4AD}" destId="{F324FB99-E565-440D-9319-A2867DA87756}" srcOrd="0" destOrd="0" presId="urn:microsoft.com/office/officeart/2005/8/layout/orgChart1"/>
    <dgm:cxn modelId="{470B244D-F2CC-453E-BAD9-CE2F93C206F1}" type="presParOf" srcId="{F324FB99-E565-440D-9319-A2867DA87756}" destId="{5E5C4910-D5C2-4117-9825-0F4E2308A1D4}" srcOrd="0" destOrd="0" presId="urn:microsoft.com/office/officeart/2005/8/layout/orgChart1"/>
    <dgm:cxn modelId="{7CCA19D1-0A36-4CCE-8B13-83754E1DE9D5}" type="presParOf" srcId="{F324FB99-E565-440D-9319-A2867DA87756}" destId="{AB22B6A5-BFAD-4E5F-BED0-C002FA69FEEF}" srcOrd="1" destOrd="0" presId="urn:microsoft.com/office/officeart/2005/8/layout/orgChart1"/>
    <dgm:cxn modelId="{12867753-39C0-4C3D-991C-96D161A24567}" type="presParOf" srcId="{9B84C5AA-6259-445A-8F7A-6D366FCBB4AD}" destId="{16186025-4BC6-46E2-97F6-F9084F02632D}" srcOrd="1" destOrd="0" presId="urn:microsoft.com/office/officeart/2005/8/layout/orgChart1"/>
    <dgm:cxn modelId="{4F231D77-98E4-4EFB-99CA-8613BD7124E3}" type="presParOf" srcId="{16186025-4BC6-46E2-97F6-F9084F02632D}" destId="{A83ED5F7-10A0-45C9-B814-5804FA76917E}" srcOrd="0" destOrd="0" presId="urn:microsoft.com/office/officeart/2005/8/layout/orgChart1"/>
    <dgm:cxn modelId="{4441102A-DBB7-48F4-A2C3-4620930B7626}" type="presParOf" srcId="{16186025-4BC6-46E2-97F6-F9084F02632D}" destId="{D44CFE56-6231-4D51-BDF4-F9842887D455}" srcOrd="1" destOrd="0" presId="urn:microsoft.com/office/officeart/2005/8/layout/orgChart1"/>
    <dgm:cxn modelId="{FB504DE4-7BB8-40E7-B6B0-1AA3D0531539}" type="presParOf" srcId="{D44CFE56-6231-4D51-BDF4-F9842887D455}" destId="{F340CB26-8421-44AC-9592-9BB7E87D96B8}" srcOrd="0" destOrd="0" presId="urn:microsoft.com/office/officeart/2005/8/layout/orgChart1"/>
    <dgm:cxn modelId="{68FF3950-06CF-46C1-8B66-675BB16CFD45}" type="presParOf" srcId="{F340CB26-8421-44AC-9592-9BB7E87D96B8}" destId="{1064D61A-5C37-497D-A6F5-6312AB6E3F5A}" srcOrd="0" destOrd="0" presId="urn:microsoft.com/office/officeart/2005/8/layout/orgChart1"/>
    <dgm:cxn modelId="{AA978779-5B3D-4E54-8092-02E8FA4612CF}" type="presParOf" srcId="{F340CB26-8421-44AC-9592-9BB7E87D96B8}" destId="{1D0BA542-EABF-46D4-A11D-8954A50A4A27}" srcOrd="1" destOrd="0" presId="urn:microsoft.com/office/officeart/2005/8/layout/orgChart1"/>
    <dgm:cxn modelId="{04737BC1-98BA-43AA-9CA2-5A6BB41E3F30}" type="presParOf" srcId="{D44CFE56-6231-4D51-BDF4-F9842887D455}" destId="{CB5479DD-BB83-4A7F-A8FE-0204BBEBDE57}" srcOrd="1" destOrd="0" presId="urn:microsoft.com/office/officeart/2005/8/layout/orgChart1"/>
    <dgm:cxn modelId="{EF14422B-3554-4472-983D-0B7868A073B8}" type="presParOf" srcId="{D44CFE56-6231-4D51-BDF4-F9842887D455}" destId="{72F3B94E-5E2C-4DF9-BCD5-3D635951032C}" srcOrd="2" destOrd="0" presId="urn:microsoft.com/office/officeart/2005/8/layout/orgChart1"/>
    <dgm:cxn modelId="{DBDD3477-C958-4031-A4CA-1737D1BFAC58}" type="presParOf" srcId="{16186025-4BC6-46E2-97F6-F9084F02632D}" destId="{A2B3E9C0-0CE1-4B88-9E71-F7CE1A7F99D7}" srcOrd="2" destOrd="0" presId="urn:microsoft.com/office/officeart/2005/8/layout/orgChart1"/>
    <dgm:cxn modelId="{113FED3A-C2FA-4A20-9677-539528FABF8D}" type="presParOf" srcId="{16186025-4BC6-46E2-97F6-F9084F02632D}" destId="{16797127-63BB-4E8C-8005-5E72B3FF9B3C}" srcOrd="3" destOrd="0" presId="urn:microsoft.com/office/officeart/2005/8/layout/orgChart1"/>
    <dgm:cxn modelId="{FA799EC1-8B02-4B88-A01F-A5BA1175FC39}" type="presParOf" srcId="{16797127-63BB-4E8C-8005-5E72B3FF9B3C}" destId="{4DFEF789-40AF-4966-81EA-F7C1CBE52773}" srcOrd="0" destOrd="0" presId="urn:microsoft.com/office/officeart/2005/8/layout/orgChart1"/>
    <dgm:cxn modelId="{25DE898E-61AF-4A33-9B27-DF00455D9B94}" type="presParOf" srcId="{4DFEF789-40AF-4966-81EA-F7C1CBE52773}" destId="{A77E27D0-EFD7-495B-9E1A-5A5371B8AB84}" srcOrd="0" destOrd="0" presId="urn:microsoft.com/office/officeart/2005/8/layout/orgChart1"/>
    <dgm:cxn modelId="{11759560-2CFD-46E5-8DB5-AACBC60A8566}" type="presParOf" srcId="{4DFEF789-40AF-4966-81EA-F7C1CBE52773}" destId="{63F8734B-291F-4EE9-8AEC-5D7130065FE8}" srcOrd="1" destOrd="0" presId="urn:microsoft.com/office/officeart/2005/8/layout/orgChart1"/>
    <dgm:cxn modelId="{35B4A1F6-CCEC-4740-BB1D-0723D9919D57}" type="presParOf" srcId="{16797127-63BB-4E8C-8005-5E72B3FF9B3C}" destId="{F1241E53-1837-4666-9A60-B6AD42958195}" srcOrd="1" destOrd="0" presId="urn:microsoft.com/office/officeart/2005/8/layout/orgChart1"/>
    <dgm:cxn modelId="{DEB65A7A-2ED9-47C3-A316-9876B36CED37}" type="presParOf" srcId="{16797127-63BB-4E8C-8005-5E72B3FF9B3C}" destId="{E1079AD2-0C8E-44F0-9596-6D504E6161CE}" srcOrd="2" destOrd="0" presId="urn:microsoft.com/office/officeart/2005/8/layout/orgChart1"/>
    <dgm:cxn modelId="{A07EB948-E732-4562-9910-454BE7650FC0}" type="presParOf" srcId="{16186025-4BC6-46E2-97F6-F9084F02632D}" destId="{50C84909-550F-4BDC-8966-B86E5E1786AE}" srcOrd="4" destOrd="0" presId="urn:microsoft.com/office/officeart/2005/8/layout/orgChart1"/>
    <dgm:cxn modelId="{92C2550E-0F7C-40EE-A41C-84FA1E1CD64F}" type="presParOf" srcId="{16186025-4BC6-46E2-97F6-F9084F02632D}" destId="{EBCAC25B-3E97-4708-AA7E-0D44E4C06B2C}" srcOrd="5" destOrd="0" presId="urn:microsoft.com/office/officeart/2005/8/layout/orgChart1"/>
    <dgm:cxn modelId="{B488E948-A5A5-478E-BCB5-EF2D0E6FBCD0}" type="presParOf" srcId="{EBCAC25B-3E97-4708-AA7E-0D44E4C06B2C}" destId="{56A22D43-7DD1-46E6-B06A-D1D662EE6DAD}" srcOrd="0" destOrd="0" presId="urn:microsoft.com/office/officeart/2005/8/layout/orgChart1"/>
    <dgm:cxn modelId="{9B6587A2-BF31-4C88-8272-40EA79D39BA0}" type="presParOf" srcId="{56A22D43-7DD1-46E6-B06A-D1D662EE6DAD}" destId="{984A4F3B-0A00-4E5A-9092-1922B8A7FAB3}" srcOrd="0" destOrd="0" presId="urn:microsoft.com/office/officeart/2005/8/layout/orgChart1"/>
    <dgm:cxn modelId="{E1316868-48F9-430E-A33D-ABBAE9EF8CB7}" type="presParOf" srcId="{56A22D43-7DD1-46E6-B06A-D1D662EE6DAD}" destId="{700B55C8-272E-490B-AB5F-A5C6369E8C79}" srcOrd="1" destOrd="0" presId="urn:microsoft.com/office/officeart/2005/8/layout/orgChart1"/>
    <dgm:cxn modelId="{632B8ADF-DED0-410B-8A8E-E612E58A769D}" type="presParOf" srcId="{EBCAC25B-3E97-4708-AA7E-0D44E4C06B2C}" destId="{18D6C1B6-F902-4ABE-BB60-086B907C1C3A}" srcOrd="1" destOrd="0" presId="urn:microsoft.com/office/officeart/2005/8/layout/orgChart1"/>
    <dgm:cxn modelId="{5833DEF5-BD9B-4E45-9B15-4DB76101E82D}" type="presParOf" srcId="{EBCAC25B-3E97-4708-AA7E-0D44E4C06B2C}" destId="{4E3F742A-A2F5-4971-A026-90DA3CFE956C}" srcOrd="2" destOrd="0" presId="urn:microsoft.com/office/officeart/2005/8/layout/orgChart1"/>
    <dgm:cxn modelId="{EA3A6BC8-C99B-4C6C-9507-40F70553C7DD}" type="presParOf" srcId="{9B84C5AA-6259-445A-8F7A-6D366FCBB4AD}" destId="{82355405-192E-42E7-B905-7A6FE845C6D9}" srcOrd="2" destOrd="0" presId="urn:microsoft.com/office/officeart/2005/8/layout/orgChart1"/>
    <dgm:cxn modelId="{98B8D36A-A459-4297-AAB7-6FE34F976862}" type="presParOf" srcId="{EC72B6B4-B63E-4FE2-8CC2-5FA221770366}" destId="{96956835-3386-449C-A89B-65F7C680246D}" srcOrd="2" destOrd="0" presId="urn:microsoft.com/office/officeart/2005/8/layout/orgChart1"/>
    <dgm:cxn modelId="{39EC9AF6-6F1A-4244-ADB6-9A1337BB2E22}" type="presParOf" srcId="{EC72B6B4-B63E-4FE2-8CC2-5FA221770366}" destId="{DBD72DFC-EF80-4973-B6E5-D3C9AB052F9E}" srcOrd="3" destOrd="0" presId="urn:microsoft.com/office/officeart/2005/8/layout/orgChart1"/>
    <dgm:cxn modelId="{9FBC3D34-2FEE-40B2-8506-BC0B1B77ECCE}" type="presParOf" srcId="{DBD72DFC-EF80-4973-B6E5-D3C9AB052F9E}" destId="{72B31F8C-4060-4D82-8D0A-8A332812C464}" srcOrd="0" destOrd="0" presId="urn:microsoft.com/office/officeart/2005/8/layout/orgChart1"/>
    <dgm:cxn modelId="{89DA8F5F-9B9F-4C80-A5C3-FD98B3721050}" type="presParOf" srcId="{72B31F8C-4060-4D82-8D0A-8A332812C464}" destId="{F0ED6141-24DB-4164-A2D4-B51E750525CD}" srcOrd="0" destOrd="0" presId="urn:microsoft.com/office/officeart/2005/8/layout/orgChart1"/>
    <dgm:cxn modelId="{60C4564D-5668-438A-8739-B66F8473E7E5}" type="presParOf" srcId="{72B31F8C-4060-4D82-8D0A-8A332812C464}" destId="{45256018-C335-4CDB-9EC5-7AE2ABAC1E00}" srcOrd="1" destOrd="0" presId="urn:microsoft.com/office/officeart/2005/8/layout/orgChart1"/>
    <dgm:cxn modelId="{A4B80BCF-7108-4B83-9390-36D52C2BE337}" type="presParOf" srcId="{DBD72DFC-EF80-4973-B6E5-D3C9AB052F9E}" destId="{2A7D3334-4741-4667-BCDB-1A78491B4FD4}" srcOrd="1" destOrd="0" presId="urn:microsoft.com/office/officeart/2005/8/layout/orgChart1"/>
    <dgm:cxn modelId="{CD929957-60B0-421C-915E-7216CC8F2274}" type="presParOf" srcId="{2A7D3334-4741-4667-BCDB-1A78491B4FD4}" destId="{CC07306D-4BD7-4477-BB61-A954489058D6}" srcOrd="0" destOrd="0" presId="urn:microsoft.com/office/officeart/2005/8/layout/orgChart1"/>
    <dgm:cxn modelId="{80B3F4C6-ABE6-48B7-93A3-C6E642C5785F}" type="presParOf" srcId="{2A7D3334-4741-4667-BCDB-1A78491B4FD4}" destId="{0ECB6EE9-64D7-46FB-8A0A-B83CD370F0B4}" srcOrd="1" destOrd="0" presId="urn:microsoft.com/office/officeart/2005/8/layout/orgChart1"/>
    <dgm:cxn modelId="{DCFC9067-C03E-4A12-B67F-51F31610D5F9}" type="presParOf" srcId="{0ECB6EE9-64D7-46FB-8A0A-B83CD370F0B4}" destId="{9D96850F-E3A0-4435-B942-5F48B18AC5F4}" srcOrd="0" destOrd="0" presId="urn:microsoft.com/office/officeart/2005/8/layout/orgChart1"/>
    <dgm:cxn modelId="{4A98B484-143C-4057-A028-DED2506735A0}" type="presParOf" srcId="{9D96850F-E3A0-4435-B942-5F48B18AC5F4}" destId="{CBCDE87F-FA6C-44B8-A9C2-1E747BE7F736}" srcOrd="0" destOrd="0" presId="urn:microsoft.com/office/officeart/2005/8/layout/orgChart1"/>
    <dgm:cxn modelId="{F1A3EB7E-541E-4CBD-95BD-4730C811AF56}" type="presParOf" srcId="{9D96850F-E3A0-4435-B942-5F48B18AC5F4}" destId="{CF9F174C-7D69-49F6-A7FE-7ED9990EB82A}" srcOrd="1" destOrd="0" presId="urn:microsoft.com/office/officeart/2005/8/layout/orgChart1"/>
    <dgm:cxn modelId="{070487C7-0465-4BF3-8515-1310537B989C}" type="presParOf" srcId="{0ECB6EE9-64D7-46FB-8A0A-B83CD370F0B4}" destId="{1934090D-CBAE-4AB8-9BE7-C9762145998D}" srcOrd="1" destOrd="0" presId="urn:microsoft.com/office/officeart/2005/8/layout/orgChart1"/>
    <dgm:cxn modelId="{84986AAB-0B74-4530-B284-5A5A1813DC0A}" type="presParOf" srcId="{0ECB6EE9-64D7-46FB-8A0A-B83CD370F0B4}" destId="{7BCCCAFF-8404-460B-9A5A-B8BF91057993}" srcOrd="2" destOrd="0" presId="urn:microsoft.com/office/officeart/2005/8/layout/orgChart1"/>
    <dgm:cxn modelId="{109A2FA8-D8A4-4A1B-88EE-EE39491635AC}" type="presParOf" srcId="{2A7D3334-4741-4667-BCDB-1A78491B4FD4}" destId="{FE10A4AF-D8A8-4F2D-9661-56E5DBB5B2C5}" srcOrd="2" destOrd="0" presId="urn:microsoft.com/office/officeart/2005/8/layout/orgChart1"/>
    <dgm:cxn modelId="{5D30F3DD-D995-4CC2-A896-773A5096E734}" type="presParOf" srcId="{2A7D3334-4741-4667-BCDB-1A78491B4FD4}" destId="{6E36B90A-357D-4409-934D-6F40EC568AE0}" srcOrd="3" destOrd="0" presId="urn:microsoft.com/office/officeart/2005/8/layout/orgChart1"/>
    <dgm:cxn modelId="{2A714292-3B5F-460C-B7C0-0F878F12A201}" type="presParOf" srcId="{6E36B90A-357D-4409-934D-6F40EC568AE0}" destId="{AB55976F-0A75-48BF-8621-9232364F260E}" srcOrd="0" destOrd="0" presId="urn:microsoft.com/office/officeart/2005/8/layout/orgChart1"/>
    <dgm:cxn modelId="{4A1F6413-3B93-4AA4-A11F-594658CBBAAF}" type="presParOf" srcId="{AB55976F-0A75-48BF-8621-9232364F260E}" destId="{5D0F02D1-4A23-4B53-AF4F-3529BE69829E}" srcOrd="0" destOrd="0" presId="urn:microsoft.com/office/officeart/2005/8/layout/orgChart1"/>
    <dgm:cxn modelId="{4437FB37-9AF3-4EB0-91CD-04CFC0230426}" type="presParOf" srcId="{AB55976F-0A75-48BF-8621-9232364F260E}" destId="{8FF15CAA-9BF1-4437-B877-2B6831555847}" srcOrd="1" destOrd="0" presId="urn:microsoft.com/office/officeart/2005/8/layout/orgChart1"/>
    <dgm:cxn modelId="{B6A03A5A-F3B4-4C83-9007-3E381A0A270A}" type="presParOf" srcId="{6E36B90A-357D-4409-934D-6F40EC568AE0}" destId="{8EE5665B-F21D-4DA6-A444-6C77DD3C6F95}" srcOrd="1" destOrd="0" presId="urn:microsoft.com/office/officeart/2005/8/layout/orgChart1"/>
    <dgm:cxn modelId="{4A82EC65-6063-44E1-BE5F-144C2AD78C0D}" type="presParOf" srcId="{6E36B90A-357D-4409-934D-6F40EC568AE0}" destId="{F1F43870-C4AC-4AF4-AB05-6A054FC06D63}" srcOrd="2" destOrd="0" presId="urn:microsoft.com/office/officeart/2005/8/layout/orgChart1"/>
    <dgm:cxn modelId="{8FBAFFA7-A12E-4A84-AE06-C04BD6F88A5F}" type="presParOf" srcId="{2A7D3334-4741-4667-BCDB-1A78491B4FD4}" destId="{1D4D3FE4-1739-4B3C-ACD2-597D18FBC50F}" srcOrd="4" destOrd="0" presId="urn:microsoft.com/office/officeart/2005/8/layout/orgChart1"/>
    <dgm:cxn modelId="{BF8D4F00-374B-4140-A320-53E4CC30FDD4}" type="presParOf" srcId="{2A7D3334-4741-4667-BCDB-1A78491B4FD4}" destId="{9115B6B6-EA79-4FE0-843B-D82CDE234246}" srcOrd="5" destOrd="0" presId="urn:microsoft.com/office/officeart/2005/8/layout/orgChart1"/>
    <dgm:cxn modelId="{BD859C01-7FAF-46B7-94E4-E44C609BCAD7}" type="presParOf" srcId="{9115B6B6-EA79-4FE0-843B-D82CDE234246}" destId="{B54B6D9A-0CB7-42FF-A0FD-F2137F2080D7}" srcOrd="0" destOrd="0" presId="urn:microsoft.com/office/officeart/2005/8/layout/orgChart1"/>
    <dgm:cxn modelId="{75CFEA3E-4385-467A-A588-E3D06DFA3357}" type="presParOf" srcId="{B54B6D9A-0CB7-42FF-A0FD-F2137F2080D7}" destId="{7BABB840-5689-4566-85C9-55C4A127C4C6}" srcOrd="0" destOrd="0" presId="urn:microsoft.com/office/officeart/2005/8/layout/orgChart1"/>
    <dgm:cxn modelId="{4F3653E7-BD02-4A18-944F-BFB1DD221E58}" type="presParOf" srcId="{B54B6D9A-0CB7-42FF-A0FD-F2137F2080D7}" destId="{C3C99CCA-0A47-4420-ABC8-53654C0C3796}" srcOrd="1" destOrd="0" presId="urn:microsoft.com/office/officeart/2005/8/layout/orgChart1"/>
    <dgm:cxn modelId="{5AA2A81A-7AEB-4537-9BC5-51E529677727}" type="presParOf" srcId="{9115B6B6-EA79-4FE0-843B-D82CDE234246}" destId="{0D889D42-77FB-49A7-B6E8-3A8C670AFEAD}" srcOrd="1" destOrd="0" presId="urn:microsoft.com/office/officeart/2005/8/layout/orgChart1"/>
    <dgm:cxn modelId="{89BDF752-3563-4D6E-BCDA-C042111198CE}" type="presParOf" srcId="{9115B6B6-EA79-4FE0-843B-D82CDE234246}" destId="{6BE4F57E-EC21-4523-B1EB-3AEDD24C4D44}" srcOrd="2" destOrd="0" presId="urn:microsoft.com/office/officeart/2005/8/layout/orgChart1"/>
    <dgm:cxn modelId="{096327ED-BD9D-4A94-B96C-98A11DD67649}" type="presParOf" srcId="{2A7D3334-4741-4667-BCDB-1A78491B4FD4}" destId="{3A94D9E8-C2A3-4765-9477-D710CC646957}" srcOrd="6" destOrd="0" presId="urn:microsoft.com/office/officeart/2005/8/layout/orgChart1"/>
    <dgm:cxn modelId="{36A15248-7792-440A-85AB-ECDF659FA1E9}" type="presParOf" srcId="{2A7D3334-4741-4667-BCDB-1A78491B4FD4}" destId="{2EAD44A1-134B-439B-87EC-257234921AE5}" srcOrd="7" destOrd="0" presId="urn:microsoft.com/office/officeart/2005/8/layout/orgChart1"/>
    <dgm:cxn modelId="{7D1D61F7-F26D-4B12-9451-E768B89A5807}" type="presParOf" srcId="{2EAD44A1-134B-439B-87EC-257234921AE5}" destId="{2FB73BF3-3C5D-4AD3-9D1C-8A589100FCB7}" srcOrd="0" destOrd="0" presId="urn:microsoft.com/office/officeart/2005/8/layout/orgChart1"/>
    <dgm:cxn modelId="{162236E7-C3D2-4A31-BF24-E9BEC0A881D4}" type="presParOf" srcId="{2FB73BF3-3C5D-4AD3-9D1C-8A589100FCB7}" destId="{50D60845-A14B-4DD0-8DB4-8B07FEB31A21}" srcOrd="0" destOrd="0" presId="urn:microsoft.com/office/officeart/2005/8/layout/orgChart1"/>
    <dgm:cxn modelId="{D2D03357-027D-474B-8DC8-4B9BC55B69CE}" type="presParOf" srcId="{2FB73BF3-3C5D-4AD3-9D1C-8A589100FCB7}" destId="{F55C39B9-C17D-4782-B68D-D9F73AAEE095}" srcOrd="1" destOrd="0" presId="urn:microsoft.com/office/officeart/2005/8/layout/orgChart1"/>
    <dgm:cxn modelId="{4FBA6E55-0320-47B2-B76A-717452A0ED6C}" type="presParOf" srcId="{2EAD44A1-134B-439B-87EC-257234921AE5}" destId="{FE161E8F-9C2C-4330-91D6-9E6A7C6F19FB}" srcOrd="1" destOrd="0" presId="urn:microsoft.com/office/officeart/2005/8/layout/orgChart1"/>
    <dgm:cxn modelId="{6DF6488D-956C-4AEE-9A30-414F2D61C522}" type="presParOf" srcId="{2EAD44A1-134B-439B-87EC-257234921AE5}" destId="{DCFA5C64-38E4-453B-BB1F-AE8ADB7F8B50}" srcOrd="2" destOrd="0" presId="urn:microsoft.com/office/officeart/2005/8/layout/orgChart1"/>
    <dgm:cxn modelId="{8D544ACE-C492-4191-9CBC-E1ACDC9DD5B8}" type="presParOf" srcId="{DBD72DFC-EF80-4973-B6E5-D3C9AB052F9E}" destId="{1DBB8D6B-1EA9-448A-B87B-A162873E7B21}" srcOrd="2" destOrd="0" presId="urn:microsoft.com/office/officeart/2005/8/layout/orgChart1"/>
    <dgm:cxn modelId="{8E86CAE2-E8F4-46FA-B85A-C448AC98F702}" type="presParOf" srcId="{EC72B6B4-B63E-4FE2-8CC2-5FA221770366}" destId="{C137CAE9-66E1-459B-A733-9B53B02E07AF}" srcOrd="4" destOrd="0" presId="urn:microsoft.com/office/officeart/2005/8/layout/orgChart1"/>
    <dgm:cxn modelId="{DE8078E1-71DB-47F6-A807-48FBB6220478}" type="presParOf" srcId="{EC72B6B4-B63E-4FE2-8CC2-5FA221770366}" destId="{35CBA655-D40F-4A2B-B71A-711D392B5A84}" srcOrd="5" destOrd="0" presId="urn:microsoft.com/office/officeart/2005/8/layout/orgChart1"/>
    <dgm:cxn modelId="{33380681-72F7-4079-810C-652C0BE5D6EC}" type="presParOf" srcId="{35CBA655-D40F-4A2B-B71A-711D392B5A84}" destId="{9DC86AED-B6DB-4100-9EA0-4E60FFB4A367}" srcOrd="0" destOrd="0" presId="urn:microsoft.com/office/officeart/2005/8/layout/orgChart1"/>
    <dgm:cxn modelId="{940AF5EC-393D-4ED2-9840-D814A1F6208C}" type="presParOf" srcId="{9DC86AED-B6DB-4100-9EA0-4E60FFB4A367}" destId="{A5F2589C-C16C-45F2-9A3D-F2A6CB2476D1}" srcOrd="0" destOrd="0" presId="urn:microsoft.com/office/officeart/2005/8/layout/orgChart1"/>
    <dgm:cxn modelId="{4FC61462-F530-4358-B569-1E3B9FD188DC}" type="presParOf" srcId="{9DC86AED-B6DB-4100-9EA0-4E60FFB4A367}" destId="{6D7B6648-0B7F-4E1F-B6C5-CE0E2F04B9FF}" srcOrd="1" destOrd="0" presId="urn:microsoft.com/office/officeart/2005/8/layout/orgChart1"/>
    <dgm:cxn modelId="{53660C79-2364-4F29-B5E4-860118C6C6C1}" type="presParOf" srcId="{35CBA655-D40F-4A2B-B71A-711D392B5A84}" destId="{29CE8073-D253-4588-B954-7167D33B1947}" srcOrd="1" destOrd="0" presId="urn:microsoft.com/office/officeart/2005/8/layout/orgChart1"/>
    <dgm:cxn modelId="{43185E1F-4C6B-4DAC-BEF3-F71A757269AD}" type="presParOf" srcId="{29CE8073-D253-4588-B954-7167D33B1947}" destId="{AEDC7120-FE6F-49D8-95F2-AB1B2B6AC9A8}" srcOrd="0" destOrd="0" presId="urn:microsoft.com/office/officeart/2005/8/layout/orgChart1"/>
    <dgm:cxn modelId="{657D765A-A87B-4DD7-A5C3-173D7F68A880}" type="presParOf" srcId="{29CE8073-D253-4588-B954-7167D33B1947}" destId="{F65159AB-B6AE-4C58-BE85-DB4966F15FBA}" srcOrd="1" destOrd="0" presId="urn:microsoft.com/office/officeart/2005/8/layout/orgChart1"/>
    <dgm:cxn modelId="{12E27605-4F91-4B5A-BBB5-399185DA94D7}" type="presParOf" srcId="{F65159AB-B6AE-4C58-BE85-DB4966F15FBA}" destId="{4413A7CD-B07B-4481-95F7-63264BEB8326}" srcOrd="0" destOrd="0" presId="urn:microsoft.com/office/officeart/2005/8/layout/orgChart1"/>
    <dgm:cxn modelId="{97CD3317-C3EB-40F9-A421-1DF51731421E}" type="presParOf" srcId="{4413A7CD-B07B-4481-95F7-63264BEB8326}" destId="{6E033C69-6BA8-4812-AE4E-0022A986E944}" srcOrd="0" destOrd="0" presId="urn:microsoft.com/office/officeart/2005/8/layout/orgChart1"/>
    <dgm:cxn modelId="{A8A422DD-C96C-4EF8-B112-FA9CF2C83D44}" type="presParOf" srcId="{4413A7CD-B07B-4481-95F7-63264BEB8326}" destId="{20C564F4-BF5C-4321-B86B-65391CEDEFC7}" srcOrd="1" destOrd="0" presId="urn:microsoft.com/office/officeart/2005/8/layout/orgChart1"/>
    <dgm:cxn modelId="{1F9BAD00-516F-4DBD-BF7D-ACA73BD8C98B}" type="presParOf" srcId="{F65159AB-B6AE-4C58-BE85-DB4966F15FBA}" destId="{7C0A51FE-5187-4FBA-A9F6-DFFAA1B3DD3E}" srcOrd="1" destOrd="0" presId="urn:microsoft.com/office/officeart/2005/8/layout/orgChart1"/>
    <dgm:cxn modelId="{E1953DC0-9AE6-4902-A39A-70190E611DC7}" type="presParOf" srcId="{F65159AB-B6AE-4C58-BE85-DB4966F15FBA}" destId="{A5F1F6CB-B812-4FEA-ACD0-E838992C8274}" srcOrd="2" destOrd="0" presId="urn:microsoft.com/office/officeart/2005/8/layout/orgChart1"/>
    <dgm:cxn modelId="{6EFDEE36-1A5B-4CD7-B6DA-BE0A8D1FB1D8}" type="presParOf" srcId="{29CE8073-D253-4588-B954-7167D33B1947}" destId="{28E82B1A-B1F2-4CC5-9B64-B60015CBF624}" srcOrd="2" destOrd="0" presId="urn:microsoft.com/office/officeart/2005/8/layout/orgChart1"/>
    <dgm:cxn modelId="{A9A13B80-E29A-4431-A663-7DB6CE10BB85}" type="presParOf" srcId="{29CE8073-D253-4588-B954-7167D33B1947}" destId="{B22DAA2B-22C5-4EFA-A0A6-9AD0235D2103}" srcOrd="3" destOrd="0" presId="urn:microsoft.com/office/officeart/2005/8/layout/orgChart1"/>
    <dgm:cxn modelId="{D94C38F8-BDF4-4F0C-B9FD-C45831CB4974}" type="presParOf" srcId="{B22DAA2B-22C5-4EFA-A0A6-9AD0235D2103}" destId="{514CA667-AA27-4D37-9311-1D5D85EF643D}" srcOrd="0" destOrd="0" presId="urn:microsoft.com/office/officeart/2005/8/layout/orgChart1"/>
    <dgm:cxn modelId="{B4670529-A882-481B-AC5A-F0CCC06D9509}" type="presParOf" srcId="{514CA667-AA27-4D37-9311-1D5D85EF643D}" destId="{428A54D9-43F6-47B6-B3A2-FDCE09CB5A97}" srcOrd="0" destOrd="0" presId="urn:microsoft.com/office/officeart/2005/8/layout/orgChart1"/>
    <dgm:cxn modelId="{9425173B-DCA2-4AA2-B7F4-BC581DAE2008}" type="presParOf" srcId="{514CA667-AA27-4D37-9311-1D5D85EF643D}" destId="{31DAB6FE-4097-4695-9397-7DCCE262634B}" srcOrd="1" destOrd="0" presId="urn:microsoft.com/office/officeart/2005/8/layout/orgChart1"/>
    <dgm:cxn modelId="{571B6589-15D6-4881-8F1A-AFC0F2E5563E}" type="presParOf" srcId="{B22DAA2B-22C5-4EFA-A0A6-9AD0235D2103}" destId="{F4CC167B-F2F2-455C-9A45-823F18AFEF9A}" srcOrd="1" destOrd="0" presId="urn:microsoft.com/office/officeart/2005/8/layout/orgChart1"/>
    <dgm:cxn modelId="{25232E51-28D8-4399-9EA0-FE1FCF2E215B}" type="presParOf" srcId="{B22DAA2B-22C5-4EFA-A0A6-9AD0235D2103}" destId="{A5D0575B-48E0-4A98-88E8-8B4961A6F762}" srcOrd="2" destOrd="0" presId="urn:microsoft.com/office/officeart/2005/8/layout/orgChart1"/>
    <dgm:cxn modelId="{4DA38D51-8CA0-4E93-AA85-235954238197}" type="presParOf" srcId="{29CE8073-D253-4588-B954-7167D33B1947}" destId="{11628582-088E-42FA-B6EC-953F652565B0}" srcOrd="4" destOrd="0" presId="urn:microsoft.com/office/officeart/2005/8/layout/orgChart1"/>
    <dgm:cxn modelId="{918190FC-1BCC-4418-9D27-9D8FCB44BEEF}" type="presParOf" srcId="{29CE8073-D253-4588-B954-7167D33B1947}" destId="{7E6CA653-D7FD-4B20-AE44-C1F44E30C01B}" srcOrd="5" destOrd="0" presId="urn:microsoft.com/office/officeart/2005/8/layout/orgChart1"/>
    <dgm:cxn modelId="{13452896-01FC-4BB3-B1BB-3E37CF7E1C24}" type="presParOf" srcId="{7E6CA653-D7FD-4B20-AE44-C1F44E30C01B}" destId="{E179F35A-A640-480A-9C40-3D39813B5DA3}" srcOrd="0" destOrd="0" presId="urn:microsoft.com/office/officeart/2005/8/layout/orgChart1"/>
    <dgm:cxn modelId="{230EAA28-2234-4E07-9842-82F6681DF470}" type="presParOf" srcId="{E179F35A-A640-480A-9C40-3D39813B5DA3}" destId="{93507A0E-B606-4F7A-9C01-283769128FF2}" srcOrd="0" destOrd="0" presId="urn:microsoft.com/office/officeart/2005/8/layout/orgChart1"/>
    <dgm:cxn modelId="{DDE746B6-077D-4538-8033-8D29B6FED28B}" type="presParOf" srcId="{E179F35A-A640-480A-9C40-3D39813B5DA3}" destId="{FA7ED8CE-14CF-4D38-BE63-D19E93618025}" srcOrd="1" destOrd="0" presId="urn:microsoft.com/office/officeart/2005/8/layout/orgChart1"/>
    <dgm:cxn modelId="{88ACD123-57C5-4799-9C8C-9FAE80C13A84}" type="presParOf" srcId="{7E6CA653-D7FD-4B20-AE44-C1F44E30C01B}" destId="{D06BFE77-47E2-4E99-9240-F26F88BFBEAB}" srcOrd="1" destOrd="0" presId="urn:microsoft.com/office/officeart/2005/8/layout/orgChart1"/>
    <dgm:cxn modelId="{0E0ED491-90A0-4951-81B9-A25B7A98BDE8}" type="presParOf" srcId="{7E6CA653-D7FD-4B20-AE44-C1F44E30C01B}" destId="{801CA00E-B2B0-4EC5-9889-E9E28C332373}" srcOrd="2" destOrd="0" presId="urn:microsoft.com/office/officeart/2005/8/layout/orgChart1"/>
    <dgm:cxn modelId="{9D55BEE1-692B-48BC-8DF5-9C6A9744F3EB}" type="presParOf" srcId="{35CBA655-D40F-4A2B-B71A-711D392B5A84}" destId="{528156B2-647C-44D5-ABAD-EBDCDF85B348}" srcOrd="2" destOrd="0" presId="urn:microsoft.com/office/officeart/2005/8/layout/orgChart1"/>
    <dgm:cxn modelId="{144FBBDE-D3DD-489B-9576-7E77C1C0CAF2}" type="presParOf" srcId="{EC72B6B4-B63E-4FE2-8CC2-5FA221770366}" destId="{B562ECC0-9994-4B01-9E77-D5C13C496118}" srcOrd="6" destOrd="0" presId="urn:microsoft.com/office/officeart/2005/8/layout/orgChart1"/>
    <dgm:cxn modelId="{05BD4362-7524-4B8D-99CB-3A18785688DC}" type="presParOf" srcId="{EC72B6B4-B63E-4FE2-8CC2-5FA221770366}" destId="{E18799E9-9DA7-423F-B7B3-369EFE76B3B6}" srcOrd="7" destOrd="0" presId="urn:microsoft.com/office/officeart/2005/8/layout/orgChart1"/>
    <dgm:cxn modelId="{38F66A27-9DEA-4133-ADA4-4D65EB2EA73A}" type="presParOf" srcId="{E18799E9-9DA7-423F-B7B3-369EFE76B3B6}" destId="{354F8417-6C70-4131-8450-E52EDD2EFA17}" srcOrd="0" destOrd="0" presId="urn:microsoft.com/office/officeart/2005/8/layout/orgChart1"/>
    <dgm:cxn modelId="{AA7DEFFB-EA92-480E-9029-A2E07C866DF5}" type="presParOf" srcId="{354F8417-6C70-4131-8450-E52EDD2EFA17}" destId="{67A44139-B3F0-4118-89E8-A44A0D503C36}" srcOrd="0" destOrd="0" presId="urn:microsoft.com/office/officeart/2005/8/layout/orgChart1"/>
    <dgm:cxn modelId="{0DEC43CB-79A8-432D-802D-EED01B9741C6}" type="presParOf" srcId="{354F8417-6C70-4131-8450-E52EDD2EFA17}" destId="{B2267437-59D9-4F70-9854-AF295901641A}" srcOrd="1" destOrd="0" presId="urn:microsoft.com/office/officeart/2005/8/layout/orgChart1"/>
    <dgm:cxn modelId="{41A27C4D-062F-44BD-AF93-C16C1EE1FE0A}" type="presParOf" srcId="{E18799E9-9DA7-423F-B7B3-369EFE76B3B6}" destId="{A6AF8EE9-DBFC-447B-8940-E76A065FD97B}" srcOrd="1" destOrd="0" presId="urn:microsoft.com/office/officeart/2005/8/layout/orgChart1"/>
    <dgm:cxn modelId="{AD859BA3-E89C-4DE6-B744-E8F0C2F6BE00}" type="presParOf" srcId="{A6AF8EE9-DBFC-447B-8940-E76A065FD97B}" destId="{2BC6CEE4-3F67-4FA6-8639-65EC4CCFF4D9}" srcOrd="0" destOrd="0" presId="urn:microsoft.com/office/officeart/2005/8/layout/orgChart1"/>
    <dgm:cxn modelId="{62BCC97F-EFBF-4C23-A03A-06F78B437CBE}" type="presParOf" srcId="{A6AF8EE9-DBFC-447B-8940-E76A065FD97B}" destId="{56EAD692-CF12-4F08-9E91-48B2A708FB71}" srcOrd="1" destOrd="0" presId="urn:microsoft.com/office/officeart/2005/8/layout/orgChart1"/>
    <dgm:cxn modelId="{353A43A4-0177-4591-B7FC-2616F6B7E638}" type="presParOf" srcId="{56EAD692-CF12-4F08-9E91-48B2A708FB71}" destId="{17485795-B1F1-44AB-A6F9-533EF86E010F}" srcOrd="0" destOrd="0" presId="urn:microsoft.com/office/officeart/2005/8/layout/orgChart1"/>
    <dgm:cxn modelId="{93CB58B7-8067-4786-A018-F7D3D5A8B937}" type="presParOf" srcId="{17485795-B1F1-44AB-A6F9-533EF86E010F}" destId="{1B4F947A-69EB-46FF-A1EA-7664283D213E}" srcOrd="0" destOrd="0" presId="urn:microsoft.com/office/officeart/2005/8/layout/orgChart1"/>
    <dgm:cxn modelId="{8FC68EC2-087A-4C5F-9A27-1F58A51B7F7F}" type="presParOf" srcId="{17485795-B1F1-44AB-A6F9-533EF86E010F}" destId="{C553D0C6-AEE4-4F65-8DAC-62449D94D6A7}" srcOrd="1" destOrd="0" presId="urn:microsoft.com/office/officeart/2005/8/layout/orgChart1"/>
    <dgm:cxn modelId="{DB1F9697-00BA-46C7-8639-9EFF06EDC5E7}" type="presParOf" srcId="{56EAD692-CF12-4F08-9E91-48B2A708FB71}" destId="{704B6FE3-1A93-464C-BD7D-26786EA03069}" srcOrd="1" destOrd="0" presId="urn:microsoft.com/office/officeart/2005/8/layout/orgChart1"/>
    <dgm:cxn modelId="{29963C5D-3789-4ECD-BA15-F00B6FC5B429}" type="presParOf" srcId="{56EAD692-CF12-4F08-9E91-48B2A708FB71}" destId="{DA9CB0A7-0D84-4FCC-8CAA-C663566F179D}" srcOrd="2" destOrd="0" presId="urn:microsoft.com/office/officeart/2005/8/layout/orgChart1"/>
    <dgm:cxn modelId="{26C1F1A1-1453-46EB-B040-C5D2D24DF292}" type="presParOf" srcId="{A6AF8EE9-DBFC-447B-8940-E76A065FD97B}" destId="{981682D2-6375-4500-994F-C7CC83594561}" srcOrd="2" destOrd="0" presId="urn:microsoft.com/office/officeart/2005/8/layout/orgChart1"/>
    <dgm:cxn modelId="{D252044F-4383-4B83-A254-8D58DDD27972}" type="presParOf" srcId="{A6AF8EE9-DBFC-447B-8940-E76A065FD97B}" destId="{5AD24796-DC78-4C67-B9F3-06DC4CB79087}" srcOrd="3" destOrd="0" presId="urn:microsoft.com/office/officeart/2005/8/layout/orgChart1"/>
    <dgm:cxn modelId="{D8A9A681-F920-4C46-8349-2AFDE07A977E}" type="presParOf" srcId="{5AD24796-DC78-4C67-B9F3-06DC4CB79087}" destId="{0E2F19BE-3966-4520-8470-5F47706807ED}" srcOrd="0" destOrd="0" presId="urn:microsoft.com/office/officeart/2005/8/layout/orgChart1"/>
    <dgm:cxn modelId="{D44FAAF5-0824-41A2-9598-0E5BACCCBB16}" type="presParOf" srcId="{0E2F19BE-3966-4520-8470-5F47706807ED}" destId="{78B1DB83-1FBB-4B72-AADA-6CBB1DAEF356}" srcOrd="0" destOrd="0" presId="urn:microsoft.com/office/officeart/2005/8/layout/orgChart1"/>
    <dgm:cxn modelId="{9B39EE59-9E47-44E1-98FD-51BCFB2B19D6}" type="presParOf" srcId="{0E2F19BE-3966-4520-8470-5F47706807ED}" destId="{BB23809A-293F-4A54-B283-6C2D984F118D}" srcOrd="1" destOrd="0" presId="urn:microsoft.com/office/officeart/2005/8/layout/orgChart1"/>
    <dgm:cxn modelId="{53D6C1D3-E271-4A18-9E38-43596934E546}" type="presParOf" srcId="{5AD24796-DC78-4C67-B9F3-06DC4CB79087}" destId="{9F248D76-C2BC-4060-8C04-B530C444F409}" srcOrd="1" destOrd="0" presId="urn:microsoft.com/office/officeart/2005/8/layout/orgChart1"/>
    <dgm:cxn modelId="{AB251E47-656C-4A93-9BD8-D5854114B996}" type="presParOf" srcId="{5AD24796-DC78-4C67-B9F3-06DC4CB79087}" destId="{6105CD00-5C50-452A-994E-5B0FFFC4DA91}" srcOrd="2" destOrd="0" presId="urn:microsoft.com/office/officeart/2005/8/layout/orgChart1"/>
    <dgm:cxn modelId="{9A3C9179-FC96-4905-91DB-B9B86EA11996}" type="presParOf" srcId="{A6AF8EE9-DBFC-447B-8940-E76A065FD97B}" destId="{AD70828E-DDD4-480C-BDFF-1E596F6615D1}" srcOrd="4" destOrd="0" presId="urn:microsoft.com/office/officeart/2005/8/layout/orgChart1"/>
    <dgm:cxn modelId="{789E32D8-102E-4DF9-95CF-077935AA74AB}" type="presParOf" srcId="{A6AF8EE9-DBFC-447B-8940-E76A065FD97B}" destId="{147EF30B-BA3D-4473-9AD2-CC7014F27C11}" srcOrd="5" destOrd="0" presId="urn:microsoft.com/office/officeart/2005/8/layout/orgChart1"/>
    <dgm:cxn modelId="{762670AF-F271-4C96-AB41-6BF10AAE1391}" type="presParOf" srcId="{147EF30B-BA3D-4473-9AD2-CC7014F27C11}" destId="{77306BB1-6CDB-40C5-85B1-4980890A9206}" srcOrd="0" destOrd="0" presId="urn:microsoft.com/office/officeart/2005/8/layout/orgChart1"/>
    <dgm:cxn modelId="{F5373FCE-DEBB-45D3-A180-77261BCF6907}" type="presParOf" srcId="{77306BB1-6CDB-40C5-85B1-4980890A9206}" destId="{43C79B55-7800-4403-B3B4-49E5363FFF1E}" srcOrd="0" destOrd="0" presId="urn:microsoft.com/office/officeart/2005/8/layout/orgChart1"/>
    <dgm:cxn modelId="{11F8A5F9-D4FE-4C95-8689-49AC9DFCCA0C}" type="presParOf" srcId="{77306BB1-6CDB-40C5-85B1-4980890A9206}" destId="{FD009694-C9A9-4545-B9B4-AE343C4C6314}" srcOrd="1" destOrd="0" presId="urn:microsoft.com/office/officeart/2005/8/layout/orgChart1"/>
    <dgm:cxn modelId="{60FFE09D-FE4C-4A25-9B50-0B4E672B0BC7}" type="presParOf" srcId="{147EF30B-BA3D-4473-9AD2-CC7014F27C11}" destId="{E7CAB4B1-64D6-4507-9B2D-46604CB6848C}" srcOrd="1" destOrd="0" presId="urn:microsoft.com/office/officeart/2005/8/layout/orgChart1"/>
    <dgm:cxn modelId="{755B6578-0C3D-4B60-9F0C-8A5456E6BA04}" type="presParOf" srcId="{147EF30B-BA3D-4473-9AD2-CC7014F27C11}" destId="{283463B1-15A6-4BEF-B96E-DE2502D9F6DF}" srcOrd="2" destOrd="0" presId="urn:microsoft.com/office/officeart/2005/8/layout/orgChart1"/>
    <dgm:cxn modelId="{409A2DB7-699D-462A-85F9-D1B7AE2B8CD3}" type="presParOf" srcId="{E18799E9-9DA7-423F-B7B3-369EFE76B3B6}" destId="{430C728D-004C-49FD-A0C1-71CD6E772786}" srcOrd="2" destOrd="0" presId="urn:microsoft.com/office/officeart/2005/8/layout/orgChart1"/>
    <dgm:cxn modelId="{36857F19-D5DF-4397-B3C2-3B6B5DB5E053}" type="presParOf" srcId="{25A00B3E-FEA8-439F-999E-8DB6BC95DBC0}" destId="{B87F60ED-85BE-4872-BA6E-CDCB9CBDC6A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26E1133-27F8-42A1-91FE-23383B9ACC99}" type="doc">
      <dgm:prSet loTypeId="urn:microsoft.com/office/officeart/2005/8/layout/orgChart1" loCatId="hierarchy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3BDC9E6-B3ED-4E11-B81F-A36F96CA06AD}">
      <dgm:prSet custT="1"/>
      <dgm:spPr/>
      <dgm:t>
        <a:bodyPr/>
        <a:lstStyle/>
        <a:p>
          <a:pPr rtl="0"/>
          <a:r>
            <a:rPr lang="en-US" sz="2000" dirty="0" err="1" smtClean="0"/>
            <a:t>Modifiabilty</a:t>
          </a:r>
          <a:endParaRPr lang="en-US" sz="2000" dirty="0"/>
        </a:p>
      </dgm:t>
    </dgm:pt>
    <dgm:pt modelId="{818B4425-229C-4D05-BD73-F2583AB7B9C5}" type="parTrans" cxnId="{E040E2E2-F016-4F82-9927-EA3D62DA0F57}">
      <dgm:prSet/>
      <dgm:spPr/>
      <dgm:t>
        <a:bodyPr/>
        <a:lstStyle/>
        <a:p>
          <a:endParaRPr lang="en-US" sz="2000"/>
        </a:p>
      </dgm:t>
    </dgm:pt>
    <dgm:pt modelId="{A3D2AA9D-1D2C-45CA-9A99-0FD9E343747F}" type="sibTrans" cxnId="{E040E2E2-F016-4F82-9927-EA3D62DA0F57}">
      <dgm:prSet/>
      <dgm:spPr/>
      <dgm:t>
        <a:bodyPr/>
        <a:lstStyle/>
        <a:p>
          <a:endParaRPr lang="en-US" sz="2000"/>
        </a:p>
      </dgm:t>
    </dgm:pt>
    <dgm:pt modelId="{843E3B21-DC9F-4CF8-A7F1-93BF704E47A7}">
      <dgm:prSet custT="1"/>
      <dgm:spPr/>
      <dgm:t>
        <a:bodyPr/>
        <a:lstStyle/>
        <a:p>
          <a:pPr rtl="0"/>
          <a:r>
            <a:rPr lang="en-US" sz="1800" dirty="0" smtClean="0"/>
            <a:t>Localize change</a:t>
          </a:r>
          <a:endParaRPr lang="en-US" sz="1800" dirty="0"/>
        </a:p>
      </dgm:t>
    </dgm:pt>
    <dgm:pt modelId="{3EEFE082-C4FA-499A-BA01-E4B8217A4B73}" type="parTrans" cxnId="{3C110BFF-FD87-473E-9985-0D9D761E60BD}">
      <dgm:prSet/>
      <dgm:spPr/>
      <dgm:t>
        <a:bodyPr/>
        <a:lstStyle/>
        <a:p>
          <a:endParaRPr lang="en-US" sz="2000"/>
        </a:p>
      </dgm:t>
    </dgm:pt>
    <dgm:pt modelId="{2992CB8F-FBF4-486F-BE86-7AEC96D28238}" type="sibTrans" cxnId="{3C110BFF-FD87-473E-9985-0D9D761E60BD}">
      <dgm:prSet/>
      <dgm:spPr/>
      <dgm:t>
        <a:bodyPr/>
        <a:lstStyle/>
        <a:p>
          <a:endParaRPr lang="en-US" sz="2000"/>
        </a:p>
      </dgm:t>
    </dgm:pt>
    <dgm:pt modelId="{A240A1E1-162D-4A6E-A806-B6FF45B3AB68}">
      <dgm:prSet custT="1"/>
      <dgm:spPr/>
      <dgm:t>
        <a:bodyPr/>
        <a:lstStyle/>
        <a:p>
          <a:pPr rtl="0"/>
          <a:r>
            <a:rPr lang="en-US" sz="1600" dirty="0" smtClean="0"/>
            <a:t>Runtime registration</a:t>
          </a:r>
          <a:endParaRPr lang="en-US" sz="1600" dirty="0"/>
        </a:p>
      </dgm:t>
    </dgm:pt>
    <dgm:pt modelId="{F0BD47AB-7AC9-40A2-A96D-1A911EFDE7FF}" type="parTrans" cxnId="{CCB5AE26-70F4-4C5B-B53D-136E39A12AC5}">
      <dgm:prSet/>
      <dgm:spPr/>
      <dgm:t>
        <a:bodyPr/>
        <a:lstStyle/>
        <a:p>
          <a:endParaRPr lang="en-US" sz="2000"/>
        </a:p>
      </dgm:t>
    </dgm:pt>
    <dgm:pt modelId="{A12D77FB-8453-4F78-A007-65AD68966259}" type="sibTrans" cxnId="{CCB5AE26-70F4-4C5B-B53D-136E39A12AC5}">
      <dgm:prSet/>
      <dgm:spPr/>
      <dgm:t>
        <a:bodyPr/>
        <a:lstStyle/>
        <a:p>
          <a:endParaRPr lang="en-US" sz="2000"/>
        </a:p>
      </dgm:t>
    </dgm:pt>
    <dgm:pt modelId="{E420C67E-C4C2-476B-9B47-FFB47D587009}">
      <dgm:prSet custT="1"/>
      <dgm:spPr/>
      <dgm:t>
        <a:bodyPr/>
        <a:lstStyle/>
        <a:p>
          <a:pPr rtl="0"/>
          <a:r>
            <a:rPr lang="en-US" sz="1800" dirty="0" smtClean="0"/>
            <a:t>Prevent Ripple effect</a:t>
          </a:r>
          <a:endParaRPr lang="en-US" sz="1800" dirty="0"/>
        </a:p>
      </dgm:t>
    </dgm:pt>
    <dgm:pt modelId="{65D088B7-B36E-49AA-84B9-2BC51B326EA1}" type="parTrans" cxnId="{2AC6A1A2-FDAF-4C07-BF93-78DC05214544}">
      <dgm:prSet/>
      <dgm:spPr/>
      <dgm:t>
        <a:bodyPr/>
        <a:lstStyle/>
        <a:p>
          <a:endParaRPr lang="en-US"/>
        </a:p>
      </dgm:t>
    </dgm:pt>
    <dgm:pt modelId="{7CC715FB-928E-4CFE-A8F5-045F16B2D743}" type="sibTrans" cxnId="{2AC6A1A2-FDAF-4C07-BF93-78DC05214544}">
      <dgm:prSet/>
      <dgm:spPr/>
      <dgm:t>
        <a:bodyPr/>
        <a:lstStyle/>
        <a:p>
          <a:endParaRPr lang="en-US"/>
        </a:p>
      </dgm:t>
    </dgm:pt>
    <dgm:pt modelId="{1CE2D78B-C788-472A-8424-7F9A4AB5205E}">
      <dgm:prSet custT="1"/>
      <dgm:spPr/>
      <dgm:t>
        <a:bodyPr/>
        <a:lstStyle/>
        <a:p>
          <a:pPr rtl="0"/>
          <a:r>
            <a:rPr lang="en-US" sz="1800" dirty="0" smtClean="0"/>
            <a:t>Defer binding</a:t>
          </a:r>
          <a:endParaRPr lang="en-US" sz="1800" dirty="0"/>
        </a:p>
      </dgm:t>
    </dgm:pt>
    <dgm:pt modelId="{6ED4E1AA-EFDD-4E70-836E-3DB36084DE98}" type="parTrans" cxnId="{0D252A7C-EA88-478B-9AB7-96B65AE1E68A}">
      <dgm:prSet/>
      <dgm:spPr/>
      <dgm:t>
        <a:bodyPr/>
        <a:lstStyle/>
        <a:p>
          <a:endParaRPr lang="en-US"/>
        </a:p>
      </dgm:t>
    </dgm:pt>
    <dgm:pt modelId="{1D0F051B-C9A8-457A-BE08-985EF4C28172}" type="sibTrans" cxnId="{0D252A7C-EA88-478B-9AB7-96B65AE1E68A}">
      <dgm:prSet/>
      <dgm:spPr/>
      <dgm:t>
        <a:bodyPr/>
        <a:lstStyle/>
        <a:p>
          <a:endParaRPr lang="en-US"/>
        </a:p>
      </dgm:t>
    </dgm:pt>
    <dgm:pt modelId="{35016019-1F0E-47A9-A9CB-AE98C0AFCFC1}">
      <dgm:prSet custT="1"/>
      <dgm:spPr/>
      <dgm:t>
        <a:bodyPr/>
        <a:lstStyle/>
        <a:p>
          <a:pPr rtl="0"/>
          <a:r>
            <a:rPr lang="en-US" sz="1600" dirty="0" smtClean="0"/>
            <a:t>Configuration files</a:t>
          </a:r>
          <a:endParaRPr lang="en-US" sz="1600" dirty="0"/>
        </a:p>
      </dgm:t>
    </dgm:pt>
    <dgm:pt modelId="{A60BCA66-49BB-4275-9110-8B471B3FC59B}" type="parTrans" cxnId="{F0C0AED6-3BFB-430A-84C4-C1842ECA49F1}">
      <dgm:prSet/>
      <dgm:spPr/>
      <dgm:t>
        <a:bodyPr/>
        <a:lstStyle/>
        <a:p>
          <a:endParaRPr lang="en-US"/>
        </a:p>
      </dgm:t>
    </dgm:pt>
    <dgm:pt modelId="{549EC933-326F-43C6-A4AD-B0C6604A5CF9}" type="sibTrans" cxnId="{F0C0AED6-3BFB-430A-84C4-C1842ECA49F1}">
      <dgm:prSet/>
      <dgm:spPr/>
      <dgm:t>
        <a:bodyPr/>
        <a:lstStyle/>
        <a:p>
          <a:endParaRPr lang="en-US"/>
        </a:p>
      </dgm:t>
    </dgm:pt>
    <dgm:pt modelId="{49742260-F14F-4BCB-8D88-ADD2EB5024EC}">
      <dgm:prSet custT="1"/>
      <dgm:spPr/>
      <dgm:t>
        <a:bodyPr/>
        <a:lstStyle/>
        <a:p>
          <a:pPr rtl="0"/>
          <a:r>
            <a:rPr lang="en-US" sz="1600" dirty="0" smtClean="0"/>
            <a:t>Polymorphism</a:t>
          </a:r>
          <a:endParaRPr lang="en-US" sz="1600" dirty="0"/>
        </a:p>
      </dgm:t>
    </dgm:pt>
    <dgm:pt modelId="{9275B05E-F520-4192-9B33-84AEEBC3F62D}" type="parTrans" cxnId="{A0E66910-A417-4433-846A-E364FADC3533}">
      <dgm:prSet/>
      <dgm:spPr/>
      <dgm:t>
        <a:bodyPr/>
        <a:lstStyle/>
        <a:p>
          <a:endParaRPr lang="en-US"/>
        </a:p>
      </dgm:t>
    </dgm:pt>
    <dgm:pt modelId="{BDB94797-518D-4543-8D6F-13596FEC7A22}" type="sibTrans" cxnId="{A0E66910-A417-4433-846A-E364FADC3533}">
      <dgm:prSet/>
      <dgm:spPr/>
      <dgm:t>
        <a:bodyPr/>
        <a:lstStyle/>
        <a:p>
          <a:endParaRPr lang="en-US"/>
        </a:p>
      </dgm:t>
    </dgm:pt>
    <dgm:pt modelId="{0216D3CF-84E5-4443-8082-6C6C297E9A4D}">
      <dgm:prSet custT="1"/>
      <dgm:spPr/>
      <dgm:t>
        <a:bodyPr/>
        <a:lstStyle/>
        <a:p>
          <a:pPr rtl="0"/>
          <a:r>
            <a:rPr lang="en-US" sz="1800" b="0" dirty="0" smtClean="0"/>
            <a:t>Hide Information</a:t>
          </a:r>
          <a:endParaRPr lang="en-US" sz="1800" b="0" dirty="0"/>
        </a:p>
      </dgm:t>
    </dgm:pt>
    <dgm:pt modelId="{C3334397-F4C9-43FD-9DE7-786437A51BF8}" type="parTrans" cxnId="{EF17C288-FABF-470A-9F6E-6F1AC60C08BE}">
      <dgm:prSet/>
      <dgm:spPr/>
      <dgm:t>
        <a:bodyPr/>
        <a:lstStyle/>
        <a:p>
          <a:endParaRPr lang="en-US"/>
        </a:p>
      </dgm:t>
    </dgm:pt>
    <dgm:pt modelId="{9C27E3D0-AEBB-4C4C-AFEA-8F9AF608B21E}" type="sibTrans" cxnId="{EF17C288-FABF-470A-9F6E-6F1AC60C08BE}">
      <dgm:prSet/>
      <dgm:spPr/>
      <dgm:t>
        <a:bodyPr/>
        <a:lstStyle/>
        <a:p>
          <a:endParaRPr lang="en-US"/>
        </a:p>
      </dgm:t>
    </dgm:pt>
    <dgm:pt modelId="{90833815-F732-45AF-B735-7A208BE16A8A}">
      <dgm:prSet custT="1"/>
      <dgm:spPr/>
      <dgm:t>
        <a:bodyPr/>
        <a:lstStyle/>
        <a:p>
          <a:pPr rtl="0"/>
          <a:r>
            <a:rPr lang="en-US" sz="1800" b="0" dirty="0" smtClean="0"/>
            <a:t>Maintain Existing Interface</a:t>
          </a:r>
          <a:endParaRPr lang="en-US" sz="1800" b="0" dirty="0"/>
        </a:p>
      </dgm:t>
    </dgm:pt>
    <dgm:pt modelId="{62301F5E-BDD5-4369-B9CF-5999FECA1C85}" type="parTrans" cxnId="{A630084D-67F8-48A7-9951-F46F3604D1B4}">
      <dgm:prSet/>
      <dgm:spPr/>
      <dgm:t>
        <a:bodyPr/>
        <a:lstStyle/>
        <a:p>
          <a:endParaRPr lang="en-US"/>
        </a:p>
      </dgm:t>
    </dgm:pt>
    <dgm:pt modelId="{7A88FAF5-FAAB-4848-B347-2B42AF8023FF}" type="sibTrans" cxnId="{A630084D-67F8-48A7-9951-F46F3604D1B4}">
      <dgm:prSet/>
      <dgm:spPr/>
      <dgm:t>
        <a:bodyPr/>
        <a:lstStyle/>
        <a:p>
          <a:endParaRPr lang="en-US"/>
        </a:p>
      </dgm:t>
    </dgm:pt>
    <dgm:pt modelId="{2F6572D1-3E4E-41CC-B816-15F6AA753750}">
      <dgm:prSet custT="1"/>
      <dgm:spPr/>
      <dgm:t>
        <a:bodyPr/>
        <a:lstStyle/>
        <a:p>
          <a:pPr rtl="0"/>
          <a:r>
            <a:rPr lang="en-US" sz="1800" b="0" dirty="0" smtClean="0"/>
            <a:t>Restrict Communication Paths</a:t>
          </a:r>
          <a:endParaRPr lang="en-US" sz="1800" b="0" dirty="0"/>
        </a:p>
      </dgm:t>
    </dgm:pt>
    <dgm:pt modelId="{453F9760-1876-428B-8CB6-DA8F60516D89}" type="parTrans" cxnId="{06E71150-3811-4FC5-8858-0203DD6C998E}">
      <dgm:prSet/>
      <dgm:spPr/>
      <dgm:t>
        <a:bodyPr/>
        <a:lstStyle/>
        <a:p>
          <a:endParaRPr lang="en-US"/>
        </a:p>
      </dgm:t>
    </dgm:pt>
    <dgm:pt modelId="{F36BC338-6ADD-4D27-8F50-A2943AF092AF}" type="sibTrans" cxnId="{06E71150-3811-4FC5-8858-0203DD6C998E}">
      <dgm:prSet/>
      <dgm:spPr/>
      <dgm:t>
        <a:bodyPr/>
        <a:lstStyle/>
        <a:p>
          <a:endParaRPr lang="en-US"/>
        </a:p>
      </dgm:t>
    </dgm:pt>
    <dgm:pt modelId="{CFEBB133-5D80-4E9D-815E-BA7E2B5804D2}">
      <dgm:prSet custT="1"/>
      <dgm:spPr/>
      <dgm:t>
        <a:bodyPr/>
        <a:lstStyle/>
        <a:p>
          <a:pPr rtl="0"/>
          <a:r>
            <a:rPr lang="en-US" sz="1800" dirty="0" smtClean="0"/>
            <a:t>Use intermediary between modules</a:t>
          </a:r>
          <a:endParaRPr lang="en-US" sz="1800" dirty="0"/>
        </a:p>
      </dgm:t>
    </dgm:pt>
    <dgm:pt modelId="{6C5C9B86-7AAA-465B-98FF-E3F38189A3AE}" type="parTrans" cxnId="{7E8A394C-0B32-41E9-BC7B-038412EB61D4}">
      <dgm:prSet/>
      <dgm:spPr/>
      <dgm:t>
        <a:bodyPr/>
        <a:lstStyle/>
        <a:p>
          <a:endParaRPr lang="en-US"/>
        </a:p>
      </dgm:t>
    </dgm:pt>
    <dgm:pt modelId="{7FDECB7D-540F-4AC8-A911-0EDE43878630}" type="sibTrans" cxnId="{7E8A394C-0B32-41E9-BC7B-038412EB61D4}">
      <dgm:prSet/>
      <dgm:spPr/>
      <dgm:t>
        <a:bodyPr/>
        <a:lstStyle/>
        <a:p>
          <a:endParaRPr lang="en-US"/>
        </a:p>
      </dgm:t>
    </dgm:pt>
    <dgm:pt modelId="{720AE7B9-47AD-4FF9-8447-DF1B8C5FD193}">
      <dgm:prSet custT="1"/>
      <dgm:spPr/>
      <dgm:t>
        <a:bodyPr/>
        <a:lstStyle/>
        <a:p>
          <a:pPr rtl="0"/>
          <a:r>
            <a:rPr lang="en-US" sz="1800" dirty="0" smtClean="0"/>
            <a:t>Factoring common service</a:t>
          </a:r>
          <a:endParaRPr lang="en-US" sz="1800" dirty="0"/>
        </a:p>
      </dgm:t>
    </dgm:pt>
    <dgm:pt modelId="{3722DDF4-26E2-4422-A516-DEEAC3ECF65B}" type="parTrans" cxnId="{C7B12242-93F1-42B1-8149-73B2BE7E9DC0}">
      <dgm:prSet/>
      <dgm:spPr/>
      <dgm:t>
        <a:bodyPr/>
        <a:lstStyle/>
        <a:p>
          <a:endParaRPr lang="en-US"/>
        </a:p>
      </dgm:t>
    </dgm:pt>
    <dgm:pt modelId="{D7F902F3-F976-415B-98C3-59057320C539}" type="sibTrans" cxnId="{C7B12242-93F1-42B1-8149-73B2BE7E9DC0}">
      <dgm:prSet/>
      <dgm:spPr/>
      <dgm:t>
        <a:bodyPr/>
        <a:lstStyle/>
        <a:p>
          <a:endParaRPr lang="en-US"/>
        </a:p>
      </dgm:t>
    </dgm:pt>
    <dgm:pt modelId="{7D7C3FA2-CE75-4B7D-A218-416906B8D917}">
      <dgm:prSet custT="1"/>
      <dgm:spPr/>
      <dgm:t>
        <a:bodyPr/>
        <a:lstStyle/>
        <a:p>
          <a:pPr rtl="0"/>
          <a:r>
            <a:rPr lang="en-US" sz="1800" dirty="0" smtClean="0"/>
            <a:t>Anticipate change</a:t>
          </a:r>
          <a:endParaRPr lang="en-US" sz="1800" dirty="0"/>
        </a:p>
      </dgm:t>
    </dgm:pt>
    <dgm:pt modelId="{14236E25-24F5-4DBC-8E23-FED5A30DEF0E}" type="parTrans" cxnId="{2648CEB6-4DB9-42A6-B700-4831395E15AC}">
      <dgm:prSet/>
      <dgm:spPr/>
      <dgm:t>
        <a:bodyPr/>
        <a:lstStyle/>
        <a:p>
          <a:endParaRPr lang="en-US"/>
        </a:p>
      </dgm:t>
    </dgm:pt>
    <dgm:pt modelId="{FB40D391-DB77-4C2C-BDCE-7A207CEAE6FE}" type="sibTrans" cxnId="{2648CEB6-4DB9-42A6-B700-4831395E15AC}">
      <dgm:prSet/>
      <dgm:spPr/>
      <dgm:t>
        <a:bodyPr/>
        <a:lstStyle/>
        <a:p>
          <a:endParaRPr lang="en-US"/>
        </a:p>
      </dgm:t>
    </dgm:pt>
    <dgm:pt modelId="{9B931718-FC68-4B2E-9854-492BCFE6FE83}">
      <dgm:prSet custT="1"/>
      <dgm:spPr/>
      <dgm:t>
        <a:bodyPr/>
        <a:lstStyle/>
        <a:p>
          <a:pPr rtl="0"/>
          <a:r>
            <a:rPr lang="en-US" sz="1800" dirty="0" smtClean="0"/>
            <a:t>Generalize module</a:t>
          </a:r>
          <a:endParaRPr lang="en-US" sz="1800" dirty="0"/>
        </a:p>
      </dgm:t>
    </dgm:pt>
    <dgm:pt modelId="{359E2506-5D19-4F9C-8688-C666576175A9}" type="parTrans" cxnId="{6E2E3B55-A6EB-46D7-B7D0-04629FD4C800}">
      <dgm:prSet/>
      <dgm:spPr/>
      <dgm:t>
        <a:bodyPr/>
        <a:lstStyle/>
        <a:p>
          <a:endParaRPr lang="en-US"/>
        </a:p>
      </dgm:t>
    </dgm:pt>
    <dgm:pt modelId="{3113A228-1208-4305-91A0-AEEDFF54B5B2}" type="sibTrans" cxnId="{6E2E3B55-A6EB-46D7-B7D0-04629FD4C800}">
      <dgm:prSet/>
      <dgm:spPr/>
      <dgm:t>
        <a:bodyPr/>
        <a:lstStyle/>
        <a:p>
          <a:endParaRPr lang="en-US"/>
        </a:p>
      </dgm:t>
    </dgm:pt>
    <dgm:pt modelId="{E137C9BD-EE5B-476B-B7BA-BA0D9370FCFA}">
      <dgm:prSet custT="1"/>
      <dgm:spPr/>
      <dgm:t>
        <a:bodyPr/>
        <a:lstStyle/>
        <a:p>
          <a:pPr rtl="0"/>
          <a:r>
            <a:rPr lang="en-US" sz="1800" dirty="0" smtClean="0"/>
            <a:t>Limit possible options</a:t>
          </a:r>
          <a:endParaRPr lang="en-US" sz="1800" dirty="0"/>
        </a:p>
      </dgm:t>
    </dgm:pt>
    <dgm:pt modelId="{55D0A0DD-88B0-4C7C-A785-02AC2DD8AEFB}" type="parTrans" cxnId="{93C18DCF-6401-4C24-8BE2-77B239018EAB}">
      <dgm:prSet/>
      <dgm:spPr/>
      <dgm:t>
        <a:bodyPr/>
        <a:lstStyle/>
        <a:p>
          <a:endParaRPr lang="en-US"/>
        </a:p>
      </dgm:t>
    </dgm:pt>
    <dgm:pt modelId="{BCD31398-9148-4314-98D5-83D75352DBF9}" type="sibTrans" cxnId="{93C18DCF-6401-4C24-8BE2-77B239018EAB}">
      <dgm:prSet/>
      <dgm:spPr/>
      <dgm:t>
        <a:bodyPr/>
        <a:lstStyle/>
        <a:p>
          <a:endParaRPr lang="en-US"/>
        </a:p>
      </dgm:t>
    </dgm:pt>
    <dgm:pt modelId="{06D97C9C-573D-4522-BCEF-4077A5734816}">
      <dgm:prSet custT="1"/>
      <dgm:spPr/>
      <dgm:t>
        <a:bodyPr/>
        <a:lstStyle/>
        <a:p>
          <a:pPr rtl="0"/>
          <a:r>
            <a:rPr lang="en-US" sz="1600" dirty="0" smtClean="0"/>
            <a:t>Component replacement</a:t>
          </a:r>
          <a:endParaRPr lang="en-US" sz="1600" dirty="0"/>
        </a:p>
      </dgm:t>
    </dgm:pt>
    <dgm:pt modelId="{8347F65C-462B-45FD-9066-355B95EA2540}" type="parTrans" cxnId="{07FA88B9-A0FB-497A-AE28-D120A7EF9818}">
      <dgm:prSet/>
      <dgm:spPr/>
      <dgm:t>
        <a:bodyPr/>
        <a:lstStyle/>
        <a:p>
          <a:endParaRPr lang="en-US"/>
        </a:p>
      </dgm:t>
    </dgm:pt>
    <dgm:pt modelId="{D708F60A-A2AE-4945-B861-E8EBC113FD88}" type="sibTrans" cxnId="{07FA88B9-A0FB-497A-AE28-D120A7EF9818}">
      <dgm:prSet/>
      <dgm:spPr/>
      <dgm:t>
        <a:bodyPr/>
        <a:lstStyle/>
        <a:p>
          <a:endParaRPr lang="en-US"/>
        </a:p>
      </dgm:t>
    </dgm:pt>
    <dgm:pt modelId="{73A0098F-31D8-453C-84FD-0E0CD7A87527}">
      <dgm:prSet custT="1"/>
      <dgm:spPr/>
      <dgm:t>
        <a:bodyPr/>
        <a:lstStyle/>
        <a:p>
          <a:pPr rtl="0"/>
          <a:r>
            <a:rPr lang="en-US" sz="1600" dirty="0" smtClean="0"/>
            <a:t>Adherence to defined protocols</a:t>
          </a:r>
          <a:endParaRPr lang="en-US" sz="1600" dirty="0"/>
        </a:p>
      </dgm:t>
    </dgm:pt>
    <dgm:pt modelId="{5393009C-F2AE-4FEB-A060-2EF8CA0E315B}" type="parTrans" cxnId="{823C3DDD-4778-4A47-9CCF-05D1CAF70033}">
      <dgm:prSet/>
      <dgm:spPr/>
      <dgm:t>
        <a:bodyPr/>
        <a:lstStyle/>
        <a:p>
          <a:endParaRPr lang="en-US"/>
        </a:p>
      </dgm:t>
    </dgm:pt>
    <dgm:pt modelId="{16A80FE0-982B-4270-9C2E-D28AA7AD0DDC}" type="sibTrans" cxnId="{823C3DDD-4778-4A47-9CCF-05D1CAF70033}">
      <dgm:prSet/>
      <dgm:spPr/>
      <dgm:t>
        <a:bodyPr/>
        <a:lstStyle/>
        <a:p>
          <a:endParaRPr lang="en-US"/>
        </a:p>
      </dgm:t>
    </dgm:pt>
    <dgm:pt modelId="{E9F5810C-05C5-4937-8779-609DD6BD5CFD}" type="pres">
      <dgm:prSet presAssocID="{A26E1133-27F8-42A1-91FE-23383B9ACC9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5A00B3E-FEA8-439F-999E-8DB6BC95DBC0}" type="pres">
      <dgm:prSet presAssocID="{43BDC9E6-B3ED-4E11-B81F-A36F96CA06AD}" presName="hierRoot1" presStyleCnt="0">
        <dgm:presLayoutVars>
          <dgm:hierBranch val="init"/>
        </dgm:presLayoutVars>
      </dgm:prSet>
      <dgm:spPr/>
    </dgm:pt>
    <dgm:pt modelId="{305CB9B7-E4C6-453D-AC39-1DA3FA25C576}" type="pres">
      <dgm:prSet presAssocID="{43BDC9E6-B3ED-4E11-B81F-A36F96CA06AD}" presName="rootComposite1" presStyleCnt="0"/>
      <dgm:spPr/>
    </dgm:pt>
    <dgm:pt modelId="{1AD90FEA-3135-49C2-A3C0-CFEDDC6405B3}" type="pres">
      <dgm:prSet presAssocID="{43BDC9E6-B3ED-4E11-B81F-A36F96CA06AD}" presName="rootText1" presStyleLbl="node0" presStyleIdx="0" presStyleCnt="1" custScaleX="180553" custScaleY="107985" custLinFactNeighborX="1602" custLinFactNeighborY="-4516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EF86BC6-06CE-4768-9942-F4420543D5EE}" type="pres">
      <dgm:prSet presAssocID="{43BDC9E6-B3ED-4E11-B81F-A36F96CA06AD}" presName="rootConnector1" presStyleLbl="node1" presStyleIdx="0" presStyleCnt="0"/>
      <dgm:spPr/>
      <dgm:t>
        <a:bodyPr/>
        <a:lstStyle/>
        <a:p>
          <a:endParaRPr lang="en-US"/>
        </a:p>
      </dgm:t>
    </dgm:pt>
    <dgm:pt modelId="{EC72B6B4-B63E-4FE2-8CC2-5FA221770366}" type="pres">
      <dgm:prSet presAssocID="{43BDC9E6-B3ED-4E11-B81F-A36F96CA06AD}" presName="hierChild2" presStyleCnt="0"/>
      <dgm:spPr/>
    </dgm:pt>
    <dgm:pt modelId="{A3BC68A0-CABF-4126-884C-C90818E1E26E}" type="pres">
      <dgm:prSet presAssocID="{3EEFE082-C4FA-499A-BA01-E4B8217A4B73}" presName="Name37" presStyleLbl="parChTrans1D2" presStyleIdx="0" presStyleCnt="3"/>
      <dgm:spPr/>
      <dgm:t>
        <a:bodyPr/>
        <a:lstStyle/>
        <a:p>
          <a:endParaRPr lang="en-US"/>
        </a:p>
      </dgm:t>
    </dgm:pt>
    <dgm:pt modelId="{9B84C5AA-6259-445A-8F7A-6D366FCBB4AD}" type="pres">
      <dgm:prSet presAssocID="{843E3B21-DC9F-4CF8-A7F1-93BF704E47A7}" presName="hierRoot2" presStyleCnt="0">
        <dgm:presLayoutVars>
          <dgm:hierBranch val="init"/>
        </dgm:presLayoutVars>
      </dgm:prSet>
      <dgm:spPr/>
    </dgm:pt>
    <dgm:pt modelId="{F324FB99-E565-440D-9319-A2867DA87756}" type="pres">
      <dgm:prSet presAssocID="{843E3B21-DC9F-4CF8-A7F1-93BF704E47A7}" presName="rootComposite" presStyleCnt="0"/>
      <dgm:spPr/>
    </dgm:pt>
    <dgm:pt modelId="{5E5C4910-D5C2-4117-9825-0F4E2308A1D4}" type="pres">
      <dgm:prSet presAssocID="{843E3B21-DC9F-4CF8-A7F1-93BF704E47A7}" presName="rootText" presStyleLbl="node2" presStyleIdx="0" presStyleCnt="3" custScaleY="90886" custLinFactX="-21305" custLinFactNeighborX="-100000" custLinFactNeighborY="8046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B22B6A5-BFAD-4E5F-BED0-C002FA69FEEF}" type="pres">
      <dgm:prSet presAssocID="{843E3B21-DC9F-4CF8-A7F1-93BF704E47A7}" presName="rootConnector" presStyleLbl="node2" presStyleIdx="0" presStyleCnt="3"/>
      <dgm:spPr/>
      <dgm:t>
        <a:bodyPr/>
        <a:lstStyle/>
        <a:p>
          <a:endParaRPr lang="en-US"/>
        </a:p>
      </dgm:t>
    </dgm:pt>
    <dgm:pt modelId="{16186025-4BC6-46E2-97F6-F9084F02632D}" type="pres">
      <dgm:prSet presAssocID="{843E3B21-DC9F-4CF8-A7F1-93BF704E47A7}" presName="hierChild4" presStyleCnt="0"/>
      <dgm:spPr/>
    </dgm:pt>
    <dgm:pt modelId="{A83ED5F7-10A0-45C9-B814-5804FA76917E}" type="pres">
      <dgm:prSet presAssocID="{3722DDF4-26E2-4422-A516-DEEAC3ECF65B}" presName="Name37" presStyleLbl="parChTrans1D3" presStyleIdx="0" presStyleCnt="13"/>
      <dgm:spPr/>
      <dgm:t>
        <a:bodyPr/>
        <a:lstStyle/>
        <a:p>
          <a:endParaRPr lang="en-US"/>
        </a:p>
      </dgm:t>
    </dgm:pt>
    <dgm:pt modelId="{D44CFE56-6231-4D51-BDF4-F9842887D455}" type="pres">
      <dgm:prSet presAssocID="{720AE7B9-47AD-4FF9-8447-DF1B8C5FD193}" presName="hierRoot2" presStyleCnt="0">
        <dgm:presLayoutVars>
          <dgm:hierBranch val="init"/>
        </dgm:presLayoutVars>
      </dgm:prSet>
      <dgm:spPr/>
    </dgm:pt>
    <dgm:pt modelId="{F340CB26-8421-44AC-9592-9BB7E87D96B8}" type="pres">
      <dgm:prSet presAssocID="{720AE7B9-47AD-4FF9-8447-DF1B8C5FD193}" presName="rootComposite" presStyleCnt="0"/>
      <dgm:spPr/>
    </dgm:pt>
    <dgm:pt modelId="{1064D61A-5C37-497D-A6F5-6312AB6E3F5A}" type="pres">
      <dgm:prSet presAssocID="{720AE7B9-47AD-4FF9-8447-DF1B8C5FD193}" presName="rootText" presStyleLbl="node3" presStyleIdx="0" presStyleCnt="13" custScaleX="187684" custLinFactNeighborX="-77056" custLinFactNeighborY="8880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D0BA542-EABF-46D4-A11D-8954A50A4A27}" type="pres">
      <dgm:prSet presAssocID="{720AE7B9-47AD-4FF9-8447-DF1B8C5FD193}" presName="rootConnector" presStyleLbl="node3" presStyleIdx="0" presStyleCnt="13"/>
      <dgm:spPr/>
      <dgm:t>
        <a:bodyPr/>
        <a:lstStyle/>
        <a:p>
          <a:endParaRPr lang="en-US"/>
        </a:p>
      </dgm:t>
    </dgm:pt>
    <dgm:pt modelId="{CB5479DD-BB83-4A7F-A8FE-0204BBEBDE57}" type="pres">
      <dgm:prSet presAssocID="{720AE7B9-47AD-4FF9-8447-DF1B8C5FD193}" presName="hierChild4" presStyleCnt="0"/>
      <dgm:spPr/>
    </dgm:pt>
    <dgm:pt modelId="{72F3B94E-5E2C-4DF9-BCD5-3D635951032C}" type="pres">
      <dgm:prSet presAssocID="{720AE7B9-47AD-4FF9-8447-DF1B8C5FD193}" presName="hierChild5" presStyleCnt="0"/>
      <dgm:spPr/>
    </dgm:pt>
    <dgm:pt modelId="{A2B3E9C0-0CE1-4B88-9E71-F7CE1A7F99D7}" type="pres">
      <dgm:prSet presAssocID="{14236E25-24F5-4DBC-8E23-FED5A30DEF0E}" presName="Name37" presStyleLbl="parChTrans1D3" presStyleIdx="1" presStyleCnt="13"/>
      <dgm:spPr/>
      <dgm:t>
        <a:bodyPr/>
        <a:lstStyle/>
        <a:p>
          <a:endParaRPr lang="en-US"/>
        </a:p>
      </dgm:t>
    </dgm:pt>
    <dgm:pt modelId="{16797127-63BB-4E8C-8005-5E72B3FF9B3C}" type="pres">
      <dgm:prSet presAssocID="{7D7C3FA2-CE75-4B7D-A218-416906B8D917}" presName="hierRoot2" presStyleCnt="0">
        <dgm:presLayoutVars>
          <dgm:hierBranch val="init"/>
        </dgm:presLayoutVars>
      </dgm:prSet>
      <dgm:spPr/>
    </dgm:pt>
    <dgm:pt modelId="{4DFEF789-40AF-4966-81EA-F7C1CBE52773}" type="pres">
      <dgm:prSet presAssocID="{7D7C3FA2-CE75-4B7D-A218-416906B8D917}" presName="rootComposite" presStyleCnt="0"/>
      <dgm:spPr/>
    </dgm:pt>
    <dgm:pt modelId="{A77E27D0-EFD7-495B-9E1A-5A5371B8AB84}" type="pres">
      <dgm:prSet presAssocID="{7D7C3FA2-CE75-4B7D-A218-416906B8D917}" presName="rootText" presStyleLbl="node3" presStyleIdx="1" presStyleCnt="13" custScaleX="170560" custLinFactNeighborX="-84501" custLinFactNeighborY="9569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3F8734B-291F-4EE9-8AEC-5D7130065FE8}" type="pres">
      <dgm:prSet presAssocID="{7D7C3FA2-CE75-4B7D-A218-416906B8D917}" presName="rootConnector" presStyleLbl="node3" presStyleIdx="1" presStyleCnt="13"/>
      <dgm:spPr/>
      <dgm:t>
        <a:bodyPr/>
        <a:lstStyle/>
        <a:p>
          <a:endParaRPr lang="en-US"/>
        </a:p>
      </dgm:t>
    </dgm:pt>
    <dgm:pt modelId="{F1241E53-1837-4666-9A60-B6AD42958195}" type="pres">
      <dgm:prSet presAssocID="{7D7C3FA2-CE75-4B7D-A218-416906B8D917}" presName="hierChild4" presStyleCnt="0"/>
      <dgm:spPr/>
    </dgm:pt>
    <dgm:pt modelId="{E1079AD2-0C8E-44F0-9596-6D504E6161CE}" type="pres">
      <dgm:prSet presAssocID="{7D7C3FA2-CE75-4B7D-A218-416906B8D917}" presName="hierChild5" presStyleCnt="0"/>
      <dgm:spPr/>
    </dgm:pt>
    <dgm:pt modelId="{50C84909-550F-4BDC-8966-B86E5E1786AE}" type="pres">
      <dgm:prSet presAssocID="{359E2506-5D19-4F9C-8688-C666576175A9}" presName="Name37" presStyleLbl="parChTrans1D3" presStyleIdx="2" presStyleCnt="13"/>
      <dgm:spPr/>
      <dgm:t>
        <a:bodyPr/>
        <a:lstStyle/>
        <a:p>
          <a:endParaRPr lang="en-US"/>
        </a:p>
      </dgm:t>
    </dgm:pt>
    <dgm:pt modelId="{EBCAC25B-3E97-4708-AA7E-0D44E4C06B2C}" type="pres">
      <dgm:prSet presAssocID="{9B931718-FC68-4B2E-9854-492BCFE6FE83}" presName="hierRoot2" presStyleCnt="0">
        <dgm:presLayoutVars>
          <dgm:hierBranch val="init"/>
        </dgm:presLayoutVars>
      </dgm:prSet>
      <dgm:spPr/>
    </dgm:pt>
    <dgm:pt modelId="{56A22D43-7DD1-46E6-B06A-D1D662EE6DAD}" type="pres">
      <dgm:prSet presAssocID="{9B931718-FC68-4B2E-9854-492BCFE6FE83}" presName="rootComposite" presStyleCnt="0"/>
      <dgm:spPr/>
    </dgm:pt>
    <dgm:pt modelId="{984A4F3B-0A00-4E5A-9092-1922B8A7FAB3}" type="pres">
      <dgm:prSet presAssocID="{9B931718-FC68-4B2E-9854-492BCFE6FE83}" presName="rootText" presStyleLbl="node3" presStyleIdx="2" presStyleCnt="13" custScaleX="167364" custLinFactY="2589" custLinFactNeighborX="-83355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00B55C8-272E-490B-AB5F-A5C6369E8C79}" type="pres">
      <dgm:prSet presAssocID="{9B931718-FC68-4B2E-9854-492BCFE6FE83}" presName="rootConnector" presStyleLbl="node3" presStyleIdx="2" presStyleCnt="13"/>
      <dgm:spPr/>
      <dgm:t>
        <a:bodyPr/>
        <a:lstStyle/>
        <a:p>
          <a:endParaRPr lang="en-US"/>
        </a:p>
      </dgm:t>
    </dgm:pt>
    <dgm:pt modelId="{18D6C1B6-F902-4ABE-BB60-086B907C1C3A}" type="pres">
      <dgm:prSet presAssocID="{9B931718-FC68-4B2E-9854-492BCFE6FE83}" presName="hierChild4" presStyleCnt="0"/>
      <dgm:spPr/>
    </dgm:pt>
    <dgm:pt modelId="{4E3F742A-A2F5-4971-A026-90DA3CFE956C}" type="pres">
      <dgm:prSet presAssocID="{9B931718-FC68-4B2E-9854-492BCFE6FE83}" presName="hierChild5" presStyleCnt="0"/>
      <dgm:spPr/>
    </dgm:pt>
    <dgm:pt modelId="{CF00A05E-81E0-4C4F-9FC9-0B1D7BC7DE00}" type="pres">
      <dgm:prSet presAssocID="{55D0A0DD-88B0-4C7C-A785-02AC2DD8AEFB}" presName="Name37" presStyleLbl="parChTrans1D3" presStyleIdx="3" presStyleCnt="13"/>
      <dgm:spPr/>
      <dgm:t>
        <a:bodyPr/>
        <a:lstStyle/>
        <a:p>
          <a:endParaRPr lang="en-US"/>
        </a:p>
      </dgm:t>
    </dgm:pt>
    <dgm:pt modelId="{A00A133F-9C71-422B-B8D5-E1805943DC75}" type="pres">
      <dgm:prSet presAssocID="{E137C9BD-EE5B-476B-B7BA-BA0D9370FCFA}" presName="hierRoot2" presStyleCnt="0">
        <dgm:presLayoutVars>
          <dgm:hierBranch val="init"/>
        </dgm:presLayoutVars>
      </dgm:prSet>
      <dgm:spPr/>
    </dgm:pt>
    <dgm:pt modelId="{B2A302CD-478F-47E1-BBE5-EDCA7054BF9D}" type="pres">
      <dgm:prSet presAssocID="{E137C9BD-EE5B-476B-B7BA-BA0D9370FCFA}" presName="rootComposite" presStyleCnt="0"/>
      <dgm:spPr/>
    </dgm:pt>
    <dgm:pt modelId="{BA6AC4DB-0F64-47C4-8289-FB0923B8558A}" type="pres">
      <dgm:prSet presAssocID="{E137C9BD-EE5B-476B-B7BA-BA0D9370FCFA}" presName="rootText" presStyleLbl="node3" presStyleIdx="3" presStyleCnt="13" custScaleX="175554" custLinFactY="9480" custLinFactNeighborX="-77056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D1BB766-10EA-42C1-95FD-C81A7C8A7741}" type="pres">
      <dgm:prSet presAssocID="{E137C9BD-EE5B-476B-B7BA-BA0D9370FCFA}" presName="rootConnector" presStyleLbl="node3" presStyleIdx="3" presStyleCnt="13"/>
      <dgm:spPr/>
      <dgm:t>
        <a:bodyPr/>
        <a:lstStyle/>
        <a:p>
          <a:endParaRPr lang="en-US"/>
        </a:p>
      </dgm:t>
    </dgm:pt>
    <dgm:pt modelId="{C0EE058C-ACBB-444C-AC89-E22EE759A819}" type="pres">
      <dgm:prSet presAssocID="{E137C9BD-EE5B-476B-B7BA-BA0D9370FCFA}" presName="hierChild4" presStyleCnt="0"/>
      <dgm:spPr/>
    </dgm:pt>
    <dgm:pt modelId="{87AEEA8C-77A3-4494-BB33-3FA6A927D4FE}" type="pres">
      <dgm:prSet presAssocID="{E137C9BD-EE5B-476B-B7BA-BA0D9370FCFA}" presName="hierChild5" presStyleCnt="0"/>
      <dgm:spPr/>
    </dgm:pt>
    <dgm:pt modelId="{82355405-192E-42E7-B905-7A6FE845C6D9}" type="pres">
      <dgm:prSet presAssocID="{843E3B21-DC9F-4CF8-A7F1-93BF704E47A7}" presName="hierChild5" presStyleCnt="0"/>
      <dgm:spPr/>
    </dgm:pt>
    <dgm:pt modelId="{96956835-3386-449C-A89B-65F7C680246D}" type="pres">
      <dgm:prSet presAssocID="{65D088B7-B36E-49AA-84B9-2BC51B326EA1}" presName="Name37" presStyleLbl="parChTrans1D2" presStyleIdx="1" presStyleCnt="3"/>
      <dgm:spPr/>
      <dgm:t>
        <a:bodyPr/>
        <a:lstStyle/>
        <a:p>
          <a:endParaRPr lang="en-US"/>
        </a:p>
      </dgm:t>
    </dgm:pt>
    <dgm:pt modelId="{DBD72DFC-EF80-4973-B6E5-D3C9AB052F9E}" type="pres">
      <dgm:prSet presAssocID="{E420C67E-C4C2-476B-9B47-FFB47D587009}" presName="hierRoot2" presStyleCnt="0">
        <dgm:presLayoutVars>
          <dgm:hierBranch val="init"/>
        </dgm:presLayoutVars>
      </dgm:prSet>
      <dgm:spPr/>
    </dgm:pt>
    <dgm:pt modelId="{72B31F8C-4060-4D82-8D0A-8A332812C464}" type="pres">
      <dgm:prSet presAssocID="{E420C67E-C4C2-476B-9B47-FFB47D587009}" presName="rootComposite" presStyleCnt="0"/>
      <dgm:spPr/>
    </dgm:pt>
    <dgm:pt modelId="{F0ED6141-24DB-4164-A2D4-B51E750525CD}" type="pres">
      <dgm:prSet presAssocID="{E420C67E-C4C2-476B-9B47-FFB47D587009}" presName="rootText" presStyleLbl="node2" presStyleIdx="1" presStyleCnt="3" custScaleX="223720" custScaleY="70522" custLinFactNeighborX="-166" custLinFactNeighborY="6572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5256018-C335-4CDB-9EC5-7AE2ABAC1E00}" type="pres">
      <dgm:prSet presAssocID="{E420C67E-C4C2-476B-9B47-FFB47D587009}" presName="rootConnector" presStyleLbl="node2" presStyleIdx="1" presStyleCnt="3"/>
      <dgm:spPr/>
      <dgm:t>
        <a:bodyPr/>
        <a:lstStyle/>
        <a:p>
          <a:endParaRPr lang="en-US"/>
        </a:p>
      </dgm:t>
    </dgm:pt>
    <dgm:pt modelId="{2A7D3334-4741-4667-BCDB-1A78491B4FD4}" type="pres">
      <dgm:prSet presAssocID="{E420C67E-C4C2-476B-9B47-FFB47D587009}" presName="hierChild4" presStyleCnt="0"/>
      <dgm:spPr/>
    </dgm:pt>
    <dgm:pt modelId="{CC07306D-4BD7-4477-BB61-A954489058D6}" type="pres">
      <dgm:prSet presAssocID="{C3334397-F4C9-43FD-9DE7-786437A51BF8}" presName="Name37" presStyleLbl="parChTrans1D3" presStyleIdx="4" presStyleCnt="13"/>
      <dgm:spPr/>
      <dgm:t>
        <a:bodyPr/>
        <a:lstStyle/>
        <a:p>
          <a:endParaRPr lang="en-US"/>
        </a:p>
      </dgm:t>
    </dgm:pt>
    <dgm:pt modelId="{0ECB6EE9-64D7-46FB-8A0A-B83CD370F0B4}" type="pres">
      <dgm:prSet presAssocID="{0216D3CF-84E5-4443-8082-6C6C297E9A4D}" presName="hierRoot2" presStyleCnt="0">
        <dgm:presLayoutVars>
          <dgm:hierBranch val="init"/>
        </dgm:presLayoutVars>
      </dgm:prSet>
      <dgm:spPr/>
    </dgm:pt>
    <dgm:pt modelId="{9D96850F-E3A0-4435-B942-5F48B18AC5F4}" type="pres">
      <dgm:prSet presAssocID="{0216D3CF-84E5-4443-8082-6C6C297E9A4D}" presName="rootComposite" presStyleCnt="0"/>
      <dgm:spPr/>
    </dgm:pt>
    <dgm:pt modelId="{CBCDE87F-FA6C-44B8-A9C2-1E747BE7F736}" type="pres">
      <dgm:prSet presAssocID="{0216D3CF-84E5-4443-8082-6C6C297E9A4D}" presName="rootText" presStyleLbl="node3" presStyleIdx="4" presStyleCnt="13" custScaleX="124077" custLinFactNeighborY="7428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F9F174C-7D69-49F6-A7FE-7ED9990EB82A}" type="pres">
      <dgm:prSet presAssocID="{0216D3CF-84E5-4443-8082-6C6C297E9A4D}" presName="rootConnector" presStyleLbl="node3" presStyleIdx="4" presStyleCnt="13"/>
      <dgm:spPr/>
      <dgm:t>
        <a:bodyPr/>
        <a:lstStyle/>
        <a:p>
          <a:endParaRPr lang="en-US"/>
        </a:p>
      </dgm:t>
    </dgm:pt>
    <dgm:pt modelId="{1934090D-CBAE-4AB8-9BE7-C9762145998D}" type="pres">
      <dgm:prSet presAssocID="{0216D3CF-84E5-4443-8082-6C6C297E9A4D}" presName="hierChild4" presStyleCnt="0"/>
      <dgm:spPr/>
    </dgm:pt>
    <dgm:pt modelId="{7BCCCAFF-8404-460B-9A5A-B8BF91057993}" type="pres">
      <dgm:prSet presAssocID="{0216D3CF-84E5-4443-8082-6C6C297E9A4D}" presName="hierChild5" presStyleCnt="0"/>
      <dgm:spPr/>
    </dgm:pt>
    <dgm:pt modelId="{FE10A4AF-D8A8-4F2D-9661-56E5DBB5B2C5}" type="pres">
      <dgm:prSet presAssocID="{62301F5E-BDD5-4369-B9CF-5999FECA1C85}" presName="Name37" presStyleLbl="parChTrans1D3" presStyleIdx="5" presStyleCnt="13"/>
      <dgm:spPr/>
      <dgm:t>
        <a:bodyPr/>
        <a:lstStyle/>
        <a:p>
          <a:endParaRPr lang="en-US"/>
        </a:p>
      </dgm:t>
    </dgm:pt>
    <dgm:pt modelId="{6E36B90A-357D-4409-934D-6F40EC568AE0}" type="pres">
      <dgm:prSet presAssocID="{90833815-F732-45AF-B735-7A208BE16A8A}" presName="hierRoot2" presStyleCnt="0">
        <dgm:presLayoutVars>
          <dgm:hierBranch val="init"/>
        </dgm:presLayoutVars>
      </dgm:prSet>
      <dgm:spPr/>
    </dgm:pt>
    <dgm:pt modelId="{AB55976F-0A75-48BF-8621-9232364F260E}" type="pres">
      <dgm:prSet presAssocID="{90833815-F732-45AF-B735-7A208BE16A8A}" presName="rootComposite" presStyleCnt="0"/>
      <dgm:spPr/>
    </dgm:pt>
    <dgm:pt modelId="{5D0F02D1-4A23-4B53-AF4F-3529BE69829E}" type="pres">
      <dgm:prSet presAssocID="{90833815-F732-45AF-B735-7A208BE16A8A}" presName="rootText" presStyleLbl="node3" presStyleIdx="5" presStyleCnt="13" custScaleX="177632" custLinFactNeighborY="9441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FF15CAA-9BF1-4437-B877-2B6831555847}" type="pres">
      <dgm:prSet presAssocID="{90833815-F732-45AF-B735-7A208BE16A8A}" presName="rootConnector" presStyleLbl="node3" presStyleIdx="5" presStyleCnt="13"/>
      <dgm:spPr/>
      <dgm:t>
        <a:bodyPr/>
        <a:lstStyle/>
        <a:p>
          <a:endParaRPr lang="en-US"/>
        </a:p>
      </dgm:t>
    </dgm:pt>
    <dgm:pt modelId="{8EE5665B-F21D-4DA6-A444-6C77DD3C6F95}" type="pres">
      <dgm:prSet presAssocID="{90833815-F732-45AF-B735-7A208BE16A8A}" presName="hierChild4" presStyleCnt="0"/>
      <dgm:spPr/>
    </dgm:pt>
    <dgm:pt modelId="{F1F43870-C4AC-4AF4-AB05-6A054FC06D63}" type="pres">
      <dgm:prSet presAssocID="{90833815-F732-45AF-B735-7A208BE16A8A}" presName="hierChild5" presStyleCnt="0"/>
      <dgm:spPr/>
    </dgm:pt>
    <dgm:pt modelId="{1D4D3FE4-1739-4B3C-ACD2-597D18FBC50F}" type="pres">
      <dgm:prSet presAssocID="{453F9760-1876-428B-8CB6-DA8F60516D89}" presName="Name37" presStyleLbl="parChTrans1D3" presStyleIdx="6" presStyleCnt="13"/>
      <dgm:spPr/>
      <dgm:t>
        <a:bodyPr/>
        <a:lstStyle/>
        <a:p>
          <a:endParaRPr lang="en-US"/>
        </a:p>
      </dgm:t>
    </dgm:pt>
    <dgm:pt modelId="{9115B6B6-EA79-4FE0-843B-D82CDE234246}" type="pres">
      <dgm:prSet presAssocID="{2F6572D1-3E4E-41CC-B816-15F6AA753750}" presName="hierRoot2" presStyleCnt="0">
        <dgm:presLayoutVars>
          <dgm:hierBranch val="init"/>
        </dgm:presLayoutVars>
      </dgm:prSet>
      <dgm:spPr/>
    </dgm:pt>
    <dgm:pt modelId="{B54B6D9A-0CB7-42FF-A0FD-F2137F2080D7}" type="pres">
      <dgm:prSet presAssocID="{2F6572D1-3E4E-41CC-B816-15F6AA753750}" presName="rootComposite" presStyleCnt="0"/>
      <dgm:spPr/>
    </dgm:pt>
    <dgm:pt modelId="{7BABB840-5689-4566-85C9-55C4A127C4C6}" type="pres">
      <dgm:prSet presAssocID="{2F6572D1-3E4E-41CC-B816-15F6AA753750}" presName="rootText" presStyleLbl="node3" presStyleIdx="6" presStyleCnt="13" custScaleX="186970" custScaleY="152229" custLinFactY="6537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3C99CCA-0A47-4420-ABC8-53654C0C3796}" type="pres">
      <dgm:prSet presAssocID="{2F6572D1-3E4E-41CC-B816-15F6AA753750}" presName="rootConnector" presStyleLbl="node3" presStyleIdx="6" presStyleCnt="13"/>
      <dgm:spPr/>
      <dgm:t>
        <a:bodyPr/>
        <a:lstStyle/>
        <a:p>
          <a:endParaRPr lang="en-US"/>
        </a:p>
      </dgm:t>
    </dgm:pt>
    <dgm:pt modelId="{0D889D42-77FB-49A7-B6E8-3A8C670AFEAD}" type="pres">
      <dgm:prSet presAssocID="{2F6572D1-3E4E-41CC-B816-15F6AA753750}" presName="hierChild4" presStyleCnt="0"/>
      <dgm:spPr/>
    </dgm:pt>
    <dgm:pt modelId="{6BE4F57E-EC21-4523-B1EB-3AEDD24C4D44}" type="pres">
      <dgm:prSet presAssocID="{2F6572D1-3E4E-41CC-B816-15F6AA753750}" presName="hierChild5" presStyleCnt="0"/>
      <dgm:spPr/>
    </dgm:pt>
    <dgm:pt modelId="{3A94D9E8-C2A3-4765-9477-D710CC646957}" type="pres">
      <dgm:prSet presAssocID="{6C5C9B86-7AAA-465B-98FF-E3F38189A3AE}" presName="Name37" presStyleLbl="parChTrans1D3" presStyleIdx="7" presStyleCnt="13"/>
      <dgm:spPr/>
      <dgm:t>
        <a:bodyPr/>
        <a:lstStyle/>
        <a:p>
          <a:endParaRPr lang="en-US"/>
        </a:p>
      </dgm:t>
    </dgm:pt>
    <dgm:pt modelId="{2EAD44A1-134B-439B-87EC-257234921AE5}" type="pres">
      <dgm:prSet presAssocID="{CFEBB133-5D80-4E9D-815E-BA7E2B5804D2}" presName="hierRoot2" presStyleCnt="0">
        <dgm:presLayoutVars>
          <dgm:hierBranch val="init"/>
        </dgm:presLayoutVars>
      </dgm:prSet>
      <dgm:spPr/>
    </dgm:pt>
    <dgm:pt modelId="{2FB73BF3-3C5D-4AD3-9D1C-8A589100FCB7}" type="pres">
      <dgm:prSet presAssocID="{CFEBB133-5D80-4E9D-815E-BA7E2B5804D2}" presName="rootComposite" presStyleCnt="0"/>
      <dgm:spPr/>
    </dgm:pt>
    <dgm:pt modelId="{50D60845-A14B-4DD0-8DB4-8B07FEB31A21}" type="pres">
      <dgm:prSet presAssocID="{CFEBB133-5D80-4E9D-815E-BA7E2B5804D2}" presName="rootText" presStyleLbl="node3" presStyleIdx="7" presStyleCnt="13" custScaleX="193989" custLinFactY="11928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55C39B9-C17D-4782-B68D-D9F73AAEE095}" type="pres">
      <dgm:prSet presAssocID="{CFEBB133-5D80-4E9D-815E-BA7E2B5804D2}" presName="rootConnector" presStyleLbl="node3" presStyleIdx="7" presStyleCnt="13"/>
      <dgm:spPr/>
      <dgm:t>
        <a:bodyPr/>
        <a:lstStyle/>
        <a:p>
          <a:endParaRPr lang="en-US"/>
        </a:p>
      </dgm:t>
    </dgm:pt>
    <dgm:pt modelId="{FE161E8F-9C2C-4330-91D6-9E6A7C6F19FB}" type="pres">
      <dgm:prSet presAssocID="{CFEBB133-5D80-4E9D-815E-BA7E2B5804D2}" presName="hierChild4" presStyleCnt="0"/>
      <dgm:spPr/>
    </dgm:pt>
    <dgm:pt modelId="{DCFA5C64-38E4-453B-BB1F-AE8ADB7F8B50}" type="pres">
      <dgm:prSet presAssocID="{CFEBB133-5D80-4E9D-815E-BA7E2B5804D2}" presName="hierChild5" presStyleCnt="0"/>
      <dgm:spPr/>
    </dgm:pt>
    <dgm:pt modelId="{1DBB8D6B-1EA9-448A-B87B-A162873E7B21}" type="pres">
      <dgm:prSet presAssocID="{E420C67E-C4C2-476B-9B47-FFB47D587009}" presName="hierChild5" presStyleCnt="0"/>
      <dgm:spPr/>
    </dgm:pt>
    <dgm:pt modelId="{C137CAE9-66E1-459B-A733-9B53B02E07AF}" type="pres">
      <dgm:prSet presAssocID="{6ED4E1AA-EFDD-4E70-836E-3DB36084DE98}" presName="Name37" presStyleLbl="parChTrans1D2" presStyleIdx="2" presStyleCnt="3"/>
      <dgm:spPr/>
      <dgm:t>
        <a:bodyPr/>
        <a:lstStyle/>
        <a:p>
          <a:endParaRPr lang="en-US"/>
        </a:p>
      </dgm:t>
    </dgm:pt>
    <dgm:pt modelId="{35CBA655-D40F-4A2B-B71A-711D392B5A84}" type="pres">
      <dgm:prSet presAssocID="{1CE2D78B-C788-472A-8424-7F9A4AB5205E}" presName="hierRoot2" presStyleCnt="0">
        <dgm:presLayoutVars>
          <dgm:hierBranch val="init"/>
        </dgm:presLayoutVars>
      </dgm:prSet>
      <dgm:spPr/>
    </dgm:pt>
    <dgm:pt modelId="{9DC86AED-B6DB-4100-9EA0-4E60FFB4A367}" type="pres">
      <dgm:prSet presAssocID="{1CE2D78B-C788-472A-8424-7F9A4AB5205E}" presName="rootComposite" presStyleCnt="0"/>
      <dgm:spPr/>
    </dgm:pt>
    <dgm:pt modelId="{A5F2589C-C16C-45F2-9A3D-F2A6CB2476D1}" type="pres">
      <dgm:prSet presAssocID="{1CE2D78B-C788-472A-8424-7F9A4AB5205E}" presName="rootText" presStyleLbl="node2" presStyleIdx="2" presStyleCnt="3" custScaleX="116568" custLinFactNeighborX="82633" custLinFactNeighborY="5415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D7B6648-0B7F-4E1F-B6C5-CE0E2F04B9FF}" type="pres">
      <dgm:prSet presAssocID="{1CE2D78B-C788-472A-8424-7F9A4AB5205E}" presName="rootConnector" presStyleLbl="node2" presStyleIdx="2" presStyleCnt="3"/>
      <dgm:spPr/>
      <dgm:t>
        <a:bodyPr/>
        <a:lstStyle/>
        <a:p>
          <a:endParaRPr lang="en-US"/>
        </a:p>
      </dgm:t>
    </dgm:pt>
    <dgm:pt modelId="{29CE8073-D253-4588-B954-7167D33B1947}" type="pres">
      <dgm:prSet presAssocID="{1CE2D78B-C788-472A-8424-7F9A4AB5205E}" presName="hierChild4" presStyleCnt="0"/>
      <dgm:spPr/>
    </dgm:pt>
    <dgm:pt modelId="{AEDC7120-FE6F-49D8-95F2-AB1B2B6AC9A8}" type="pres">
      <dgm:prSet presAssocID="{F0BD47AB-7AC9-40A2-A96D-1A911EFDE7FF}" presName="Name37" presStyleLbl="parChTrans1D3" presStyleIdx="8" presStyleCnt="13"/>
      <dgm:spPr/>
      <dgm:t>
        <a:bodyPr/>
        <a:lstStyle/>
        <a:p>
          <a:endParaRPr lang="en-US"/>
        </a:p>
      </dgm:t>
    </dgm:pt>
    <dgm:pt modelId="{F65159AB-B6AE-4C58-BE85-DB4966F15FBA}" type="pres">
      <dgm:prSet presAssocID="{A240A1E1-162D-4A6E-A806-B6FF45B3AB68}" presName="hierRoot2" presStyleCnt="0">
        <dgm:presLayoutVars>
          <dgm:hierBranch val="init"/>
        </dgm:presLayoutVars>
      </dgm:prSet>
      <dgm:spPr/>
    </dgm:pt>
    <dgm:pt modelId="{4413A7CD-B07B-4481-95F7-63264BEB8326}" type="pres">
      <dgm:prSet presAssocID="{A240A1E1-162D-4A6E-A806-B6FF45B3AB68}" presName="rootComposite" presStyleCnt="0"/>
      <dgm:spPr/>
    </dgm:pt>
    <dgm:pt modelId="{6E033C69-6BA8-4812-AE4E-0022A986E944}" type="pres">
      <dgm:prSet presAssocID="{A240A1E1-162D-4A6E-A806-B6FF45B3AB68}" presName="rootText" presStyleLbl="node3" presStyleIdx="8" presStyleCnt="13" custScaleX="188728" custLinFactX="62382" custLinFactNeighborX="100000" custLinFactNeighborY="3758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0C564F4-BF5C-4321-B86B-65391CEDEFC7}" type="pres">
      <dgm:prSet presAssocID="{A240A1E1-162D-4A6E-A806-B6FF45B3AB68}" presName="rootConnector" presStyleLbl="node3" presStyleIdx="8" presStyleCnt="13"/>
      <dgm:spPr/>
      <dgm:t>
        <a:bodyPr/>
        <a:lstStyle/>
        <a:p>
          <a:endParaRPr lang="en-US"/>
        </a:p>
      </dgm:t>
    </dgm:pt>
    <dgm:pt modelId="{7C0A51FE-5187-4FBA-A9F6-DFFAA1B3DD3E}" type="pres">
      <dgm:prSet presAssocID="{A240A1E1-162D-4A6E-A806-B6FF45B3AB68}" presName="hierChild4" presStyleCnt="0"/>
      <dgm:spPr/>
    </dgm:pt>
    <dgm:pt modelId="{A5F1F6CB-B812-4FEA-ACD0-E838992C8274}" type="pres">
      <dgm:prSet presAssocID="{A240A1E1-162D-4A6E-A806-B6FF45B3AB68}" presName="hierChild5" presStyleCnt="0"/>
      <dgm:spPr/>
    </dgm:pt>
    <dgm:pt modelId="{28E82B1A-B1F2-4CC5-9B64-B60015CBF624}" type="pres">
      <dgm:prSet presAssocID="{A60BCA66-49BB-4275-9110-8B471B3FC59B}" presName="Name37" presStyleLbl="parChTrans1D3" presStyleIdx="9" presStyleCnt="13"/>
      <dgm:spPr/>
      <dgm:t>
        <a:bodyPr/>
        <a:lstStyle/>
        <a:p>
          <a:endParaRPr lang="en-US"/>
        </a:p>
      </dgm:t>
    </dgm:pt>
    <dgm:pt modelId="{B22DAA2B-22C5-4EFA-A0A6-9AD0235D2103}" type="pres">
      <dgm:prSet presAssocID="{35016019-1F0E-47A9-A9CB-AE98C0AFCFC1}" presName="hierRoot2" presStyleCnt="0">
        <dgm:presLayoutVars>
          <dgm:hierBranch val="init"/>
        </dgm:presLayoutVars>
      </dgm:prSet>
      <dgm:spPr/>
    </dgm:pt>
    <dgm:pt modelId="{514CA667-AA27-4D37-9311-1D5D85EF643D}" type="pres">
      <dgm:prSet presAssocID="{35016019-1F0E-47A9-A9CB-AE98C0AFCFC1}" presName="rootComposite" presStyleCnt="0"/>
      <dgm:spPr/>
    </dgm:pt>
    <dgm:pt modelId="{428A54D9-43F6-47B6-B3A2-FDCE09CB5A97}" type="pres">
      <dgm:prSet presAssocID="{35016019-1F0E-47A9-A9CB-AE98C0AFCFC1}" presName="rootText" presStyleLbl="node3" presStyleIdx="9" presStyleCnt="13" custScaleX="155005" custLinFactX="34840" custLinFactNeighborX="100000" custLinFactNeighborY="3523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1DAB6FE-4097-4695-9397-7DCCE262634B}" type="pres">
      <dgm:prSet presAssocID="{35016019-1F0E-47A9-A9CB-AE98C0AFCFC1}" presName="rootConnector" presStyleLbl="node3" presStyleIdx="9" presStyleCnt="13"/>
      <dgm:spPr/>
      <dgm:t>
        <a:bodyPr/>
        <a:lstStyle/>
        <a:p>
          <a:endParaRPr lang="en-US"/>
        </a:p>
      </dgm:t>
    </dgm:pt>
    <dgm:pt modelId="{F4CC167B-F2F2-455C-9A45-823F18AFEF9A}" type="pres">
      <dgm:prSet presAssocID="{35016019-1F0E-47A9-A9CB-AE98C0AFCFC1}" presName="hierChild4" presStyleCnt="0"/>
      <dgm:spPr/>
    </dgm:pt>
    <dgm:pt modelId="{A5D0575B-48E0-4A98-88E8-8B4961A6F762}" type="pres">
      <dgm:prSet presAssocID="{35016019-1F0E-47A9-A9CB-AE98C0AFCFC1}" presName="hierChild5" presStyleCnt="0"/>
      <dgm:spPr/>
    </dgm:pt>
    <dgm:pt modelId="{11628582-088E-42FA-B6EC-953F652565B0}" type="pres">
      <dgm:prSet presAssocID="{9275B05E-F520-4192-9B33-84AEEBC3F62D}" presName="Name37" presStyleLbl="parChTrans1D3" presStyleIdx="10" presStyleCnt="13"/>
      <dgm:spPr/>
      <dgm:t>
        <a:bodyPr/>
        <a:lstStyle/>
        <a:p>
          <a:endParaRPr lang="en-US"/>
        </a:p>
      </dgm:t>
    </dgm:pt>
    <dgm:pt modelId="{7E6CA653-D7FD-4B20-AE44-C1F44E30C01B}" type="pres">
      <dgm:prSet presAssocID="{49742260-F14F-4BCB-8D88-ADD2EB5024EC}" presName="hierRoot2" presStyleCnt="0">
        <dgm:presLayoutVars>
          <dgm:hierBranch val="init"/>
        </dgm:presLayoutVars>
      </dgm:prSet>
      <dgm:spPr/>
    </dgm:pt>
    <dgm:pt modelId="{E179F35A-A640-480A-9C40-3D39813B5DA3}" type="pres">
      <dgm:prSet presAssocID="{49742260-F14F-4BCB-8D88-ADD2EB5024EC}" presName="rootComposite" presStyleCnt="0"/>
      <dgm:spPr/>
    </dgm:pt>
    <dgm:pt modelId="{93507A0E-B606-4F7A-9C01-283769128FF2}" type="pres">
      <dgm:prSet presAssocID="{49742260-F14F-4BCB-8D88-ADD2EB5024EC}" presName="rootText" presStyleLbl="node3" presStyleIdx="10" presStyleCnt="13" custScaleX="158784" custLinFactX="43439" custLinFactNeighborX="100000" custLinFactNeighborY="2611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A7ED8CE-14CF-4D38-BE63-D19E93618025}" type="pres">
      <dgm:prSet presAssocID="{49742260-F14F-4BCB-8D88-ADD2EB5024EC}" presName="rootConnector" presStyleLbl="node3" presStyleIdx="10" presStyleCnt="13"/>
      <dgm:spPr/>
      <dgm:t>
        <a:bodyPr/>
        <a:lstStyle/>
        <a:p>
          <a:endParaRPr lang="en-US"/>
        </a:p>
      </dgm:t>
    </dgm:pt>
    <dgm:pt modelId="{D06BFE77-47E2-4E99-9240-F26F88BFBEAB}" type="pres">
      <dgm:prSet presAssocID="{49742260-F14F-4BCB-8D88-ADD2EB5024EC}" presName="hierChild4" presStyleCnt="0"/>
      <dgm:spPr/>
    </dgm:pt>
    <dgm:pt modelId="{801CA00E-B2B0-4EC5-9889-E9E28C332373}" type="pres">
      <dgm:prSet presAssocID="{49742260-F14F-4BCB-8D88-ADD2EB5024EC}" presName="hierChild5" presStyleCnt="0"/>
      <dgm:spPr/>
    </dgm:pt>
    <dgm:pt modelId="{490CA387-8BDE-4005-BE6C-725A759AE03C}" type="pres">
      <dgm:prSet presAssocID="{8347F65C-462B-45FD-9066-355B95EA2540}" presName="Name37" presStyleLbl="parChTrans1D3" presStyleIdx="11" presStyleCnt="13"/>
      <dgm:spPr/>
      <dgm:t>
        <a:bodyPr/>
        <a:lstStyle/>
        <a:p>
          <a:endParaRPr lang="en-US"/>
        </a:p>
      </dgm:t>
    </dgm:pt>
    <dgm:pt modelId="{8EBF3569-414C-444A-82F4-1E2AB8C1CF12}" type="pres">
      <dgm:prSet presAssocID="{06D97C9C-573D-4522-BCEF-4077A5734816}" presName="hierRoot2" presStyleCnt="0">
        <dgm:presLayoutVars>
          <dgm:hierBranch val="init"/>
        </dgm:presLayoutVars>
      </dgm:prSet>
      <dgm:spPr/>
    </dgm:pt>
    <dgm:pt modelId="{0758B0AD-A70D-49C4-B2F5-910D47263F30}" type="pres">
      <dgm:prSet presAssocID="{06D97C9C-573D-4522-BCEF-4077A5734816}" presName="rootComposite" presStyleCnt="0"/>
      <dgm:spPr/>
    </dgm:pt>
    <dgm:pt modelId="{0B051ACB-AD4B-44A0-B203-A3F060DC178D}" type="pres">
      <dgm:prSet presAssocID="{06D97C9C-573D-4522-BCEF-4077A5734816}" presName="rootText" presStyleLbl="node3" presStyleIdx="11" presStyleCnt="13" custScaleX="156273" custLinFactX="42666" custLinFactNeighborX="100000" custLinFactNeighborY="1657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67A6B0F-1874-4E90-8E08-3C8CB91FF5C1}" type="pres">
      <dgm:prSet presAssocID="{06D97C9C-573D-4522-BCEF-4077A5734816}" presName="rootConnector" presStyleLbl="node3" presStyleIdx="11" presStyleCnt="13"/>
      <dgm:spPr/>
      <dgm:t>
        <a:bodyPr/>
        <a:lstStyle/>
        <a:p>
          <a:endParaRPr lang="en-US"/>
        </a:p>
      </dgm:t>
    </dgm:pt>
    <dgm:pt modelId="{30128455-4856-4832-905F-9B5029ADCF77}" type="pres">
      <dgm:prSet presAssocID="{06D97C9C-573D-4522-BCEF-4077A5734816}" presName="hierChild4" presStyleCnt="0"/>
      <dgm:spPr/>
    </dgm:pt>
    <dgm:pt modelId="{B907855F-F851-4F88-96F5-8136C893BD47}" type="pres">
      <dgm:prSet presAssocID="{06D97C9C-573D-4522-BCEF-4077A5734816}" presName="hierChild5" presStyleCnt="0"/>
      <dgm:spPr/>
    </dgm:pt>
    <dgm:pt modelId="{F6DF7D20-97CE-45B5-8272-1D8DFBF4322E}" type="pres">
      <dgm:prSet presAssocID="{5393009C-F2AE-4FEB-A060-2EF8CA0E315B}" presName="Name37" presStyleLbl="parChTrans1D3" presStyleIdx="12" presStyleCnt="13"/>
      <dgm:spPr/>
      <dgm:t>
        <a:bodyPr/>
        <a:lstStyle/>
        <a:p>
          <a:endParaRPr lang="en-US"/>
        </a:p>
      </dgm:t>
    </dgm:pt>
    <dgm:pt modelId="{33DF2477-EB85-4B7E-BFD1-431DD797052F}" type="pres">
      <dgm:prSet presAssocID="{73A0098F-31D8-453C-84FD-0E0CD7A87527}" presName="hierRoot2" presStyleCnt="0">
        <dgm:presLayoutVars>
          <dgm:hierBranch val="init"/>
        </dgm:presLayoutVars>
      </dgm:prSet>
      <dgm:spPr/>
    </dgm:pt>
    <dgm:pt modelId="{981C2610-43E5-46F5-91D9-212743DD34A5}" type="pres">
      <dgm:prSet presAssocID="{73A0098F-31D8-453C-84FD-0E0CD7A87527}" presName="rootComposite" presStyleCnt="0"/>
      <dgm:spPr/>
    </dgm:pt>
    <dgm:pt modelId="{B48C34C0-3268-4BDA-9392-41361EEA60C6}" type="pres">
      <dgm:prSet presAssocID="{73A0098F-31D8-453C-84FD-0E0CD7A87527}" presName="rootText" presStyleLbl="node3" presStyleIdx="12" presStyleCnt="13" custScaleX="153115" custScaleY="151374" custLinFactX="66004" custLinFactNeighborX="100000" custLinFactNeighborY="26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4864036-80FA-4A2E-B84D-CE2A3973B0C9}" type="pres">
      <dgm:prSet presAssocID="{73A0098F-31D8-453C-84FD-0E0CD7A87527}" presName="rootConnector" presStyleLbl="node3" presStyleIdx="12" presStyleCnt="13"/>
      <dgm:spPr/>
      <dgm:t>
        <a:bodyPr/>
        <a:lstStyle/>
        <a:p>
          <a:endParaRPr lang="en-US"/>
        </a:p>
      </dgm:t>
    </dgm:pt>
    <dgm:pt modelId="{7DAFD94E-7849-48EA-9120-080EB3D68BB6}" type="pres">
      <dgm:prSet presAssocID="{73A0098F-31D8-453C-84FD-0E0CD7A87527}" presName="hierChild4" presStyleCnt="0"/>
      <dgm:spPr/>
    </dgm:pt>
    <dgm:pt modelId="{5A546465-A07C-44FA-A3D6-3DB7985C1CD2}" type="pres">
      <dgm:prSet presAssocID="{73A0098F-31D8-453C-84FD-0E0CD7A87527}" presName="hierChild5" presStyleCnt="0"/>
      <dgm:spPr/>
    </dgm:pt>
    <dgm:pt modelId="{528156B2-647C-44D5-ABAD-EBDCDF85B348}" type="pres">
      <dgm:prSet presAssocID="{1CE2D78B-C788-472A-8424-7F9A4AB5205E}" presName="hierChild5" presStyleCnt="0"/>
      <dgm:spPr/>
    </dgm:pt>
    <dgm:pt modelId="{B87F60ED-85BE-4872-BA6E-CDCB9CBDC6A3}" type="pres">
      <dgm:prSet presAssocID="{43BDC9E6-B3ED-4E11-B81F-A36F96CA06AD}" presName="hierChild3" presStyleCnt="0"/>
      <dgm:spPr/>
    </dgm:pt>
  </dgm:ptLst>
  <dgm:cxnLst>
    <dgm:cxn modelId="{64461AEE-E23F-4AC0-B234-F2B29BEE56D2}" type="presOf" srcId="{0216D3CF-84E5-4443-8082-6C6C297E9A4D}" destId="{CF9F174C-7D69-49F6-A7FE-7ED9990EB82A}" srcOrd="1" destOrd="0" presId="urn:microsoft.com/office/officeart/2005/8/layout/orgChart1"/>
    <dgm:cxn modelId="{ED430CCB-ED47-4C82-8ECC-FA67DCF7918D}" type="presOf" srcId="{C3334397-F4C9-43FD-9DE7-786437A51BF8}" destId="{CC07306D-4BD7-4477-BB61-A954489058D6}" srcOrd="0" destOrd="0" presId="urn:microsoft.com/office/officeart/2005/8/layout/orgChart1"/>
    <dgm:cxn modelId="{1348C9AC-A250-402F-B09A-37F85D7E1201}" type="presOf" srcId="{CFEBB133-5D80-4E9D-815E-BA7E2B5804D2}" destId="{F55C39B9-C17D-4782-B68D-D9F73AAEE095}" srcOrd="1" destOrd="0" presId="urn:microsoft.com/office/officeart/2005/8/layout/orgChart1"/>
    <dgm:cxn modelId="{51C1AE5E-A502-4C39-9DE6-14496B022C2C}" type="presOf" srcId="{453F9760-1876-428B-8CB6-DA8F60516D89}" destId="{1D4D3FE4-1739-4B3C-ACD2-597D18FBC50F}" srcOrd="0" destOrd="0" presId="urn:microsoft.com/office/officeart/2005/8/layout/orgChart1"/>
    <dgm:cxn modelId="{DDFBF38E-A28F-44B9-A450-ED1991A7585D}" type="presOf" srcId="{CFEBB133-5D80-4E9D-815E-BA7E2B5804D2}" destId="{50D60845-A14B-4DD0-8DB4-8B07FEB31A21}" srcOrd="0" destOrd="0" presId="urn:microsoft.com/office/officeart/2005/8/layout/orgChart1"/>
    <dgm:cxn modelId="{C7B12242-93F1-42B1-8149-73B2BE7E9DC0}" srcId="{843E3B21-DC9F-4CF8-A7F1-93BF704E47A7}" destId="{720AE7B9-47AD-4FF9-8447-DF1B8C5FD193}" srcOrd="0" destOrd="0" parTransId="{3722DDF4-26E2-4422-A516-DEEAC3ECF65B}" sibTransId="{D7F902F3-F976-415B-98C3-59057320C539}"/>
    <dgm:cxn modelId="{EF17C288-FABF-470A-9F6E-6F1AC60C08BE}" srcId="{E420C67E-C4C2-476B-9B47-FFB47D587009}" destId="{0216D3CF-84E5-4443-8082-6C6C297E9A4D}" srcOrd="0" destOrd="0" parTransId="{C3334397-F4C9-43FD-9DE7-786437A51BF8}" sibTransId="{9C27E3D0-AEBB-4C4C-AFEA-8F9AF608B21E}"/>
    <dgm:cxn modelId="{6D5D9624-AE04-4B0B-A4DA-F8FF91FCC30E}" type="presOf" srcId="{E420C67E-C4C2-476B-9B47-FFB47D587009}" destId="{F0ED6141-24DB-4164-A2D4-B51E750525CD}" srcOrd="0" destOrd="0" presId="urn:microsoft.com/office/officeart/2005/8/layout/orgChart1"/>
    <dgm:cxn modelId="{E040E2E2-F016-4F82-9927-EA3D62DA0F57}" srcId="{A26E1133-27F8-42A1-91FE-23383B9ACC99}" destId="{43BDC9E6-B3ED-4E11-B81F-A36F96CA06AD}" srcOrd="0" destOrd="0" parTransId="{818B4425-229C-4D05-BD73-F2583AB7B9C5}" sibTransId="{A3D2AA9D-1D2C-45CA-9A99-0FD9E343747F}"/>
    <dgm:cxn modelId="{A0E66910-A417-4433-846A-E364FADC3533}" srcId="{1CE2D78B-C788-472A-8424-7F9A4AB5205E}" destId="{49742260-F14F-4BCB-8D88-ADD2EB5024EC}" srcOrd="2" destOrd="0" parTransId="{9275B05E-F520-4192-9B33-84AEEBC3F62D}" sibTransId="{BDB94797-518D-4543-8D6F-13596FEC7A22}"/>
    <dgm:cxn modelId="{A630084D-67F8-48A7-9951-F46F3604D1B4}" srcId="{E420C67E-C4C2-476B-9B47-FFB47D587009}" destId="{90833815-F732-45AF-B735-7A208BE16A8A}" srcOrd="1" destOrd="0" parTransId="{62301F5E-BDD5-4369-B9CF-5999FECA1C85}" sibTransId="{7A88FAF5-FAAB-4848-B347-2B42AF8023FF}"/>
    <dgm:cxn modelId="{F9793FEF-4820-406D-BD26-D75DBF7AF02A}" type="presOf" srcId="{843E3B21-DC9F-4CF8-A7F1-93BF704E47A7}" destId="{5E5C4910-D5C2-4117-9825-0F4E2308A1D4}" srcOrd="0" destOrd="0" presId="urn:microsoft.com/office/officeart/2005/8/layout/orgChart1"/>
    <dgm:cxn modelId="{49F7D39E-D468-443F-A8F3-CEF1EE576D1F}" type="presOf" srcId="{0216D3CF-84E5-4443-8082-6C6C297E9A4D}" destId="{CBCDE87F-FA6C-44B8-A9C2-1E747BE7F736}" srcOrd="0" destOrd="0" presId="urn:microsoft.com/office/officeart/2005/8/layout/orgChart1"/>
    <dgm:cxn modelId="{F95114B3-B24E-4A6E-81B2-4B031C9D3B91}" type="presOf" srcId="{90833815-F732-45AF-B735-7A208BE16A8A}" destId="{5D0F02D1-4A23-4B53-AF4F-3529BE69829E}" srcOrd="0" destOrd="0" presId="urn:microsoft.com/office/officeart/2005/8/layout/orgChart1"/>
    <dgm:cxn modelId="{77CCD9B7-D911-48D2-AD44-A295E13EB505}" type="presOf" srcId="{8347F65C-462B-45FD-9066-355B95EA2540}" destId="{490CA387-8BDE-4005-BE6C-725A759AE03C}" srcOrd="0" destOrd="0" presId="urn:microsoft.com/office/officeart/2005/8/layout/orgChart1"/>
    <dgm:cxn modelId="{D4CAE218-F6FA-47D4-B8EA-3AC963CB8065}" type="presOf" srcId="{73A0098F-31D8-453C-84FD-0E0CD7A87527}" destId="{F4864036-80FA-4A2E-B84D-CE2A3973B0C9}" srcOrd="1" destOrd="0" presId="urn:microsoft.com/office/officeart/2005/8/layout/orgChart1"/>
    <dgm:cxn modelId="{2CBAAE81-1C31-4D31-8740-3607E65B2610}" type="presOf" srcId="{49742260-F14F-4BCB-8D88-ADD2EB5024EC}" destId="{93507A0E-B606-4F7A-9C01-283769128FF2}" srcOrd="0" destOrd="0" presId="urn:microsoft.com/office/officeart/2005/8/layout/orgChart1"/>
    <dgm:cxn modelId="{7B246A1C-8749-4BF2-9472-C02C09656B53}" type="presOf" srcId="{55D0A0DD-88B0-4C7C-A785-02AC2DD8AEFB}" destId="{CF00A05E-81E0-4C4F-9FC9-0B1D7BC7DE00}" srcOrd="0" destOrd="0" presId="urn:microsoft.com/office/officeart/2005/8/layout/orgChart1"/>
    <dgm:cxn modelId="{F508E351-7E3A-4043-9D84-C53EE6575FE8}" type="presOf" srcId="{E137C9BD-EE5B-476B-B7BA-BA0D9370FCFA}" destId="{BA6AC4DB-0F64-47C4-8289-FB0923B8558A}" srcOrd="0" destOrd="0" presId="urn:microsoft.com/office/officeart/2005/8/layout/orgChart1"/>
    <dgm:cxn modelId="{47C556B2-CF33-4E5A-A849-7C52B7189AE4}" type="presOf" srcId="{9B931718-FC68-4B2E-9854-492BCFE6FE83}" destId="{984A4F3B-0A00-4E5A-9092-1922B8A7FAB3}" srcOrd="0" destOrd="0" presId="urn:microsoft.com/office/officeart/2005/8/layout/orgChart1"/>
    <dgm:cxn modelId="{829C63F5-4313-4DB7-9CF7-F973D8251B59}" type="presOf" srcId="{9B931718-FC68-4B2E-9854-492BCFE6FE83}" destId="{700B55C8-272E-490B-AB5F-A5C6369E8C79}" srcOrd="1" destOrd="0" presId="urn:microsoft.com/office/officeart/2005/8/layout/orgChart1"/>
    <dgm:cxn modelId="{3C4D7092-4BEF-4FD0-AE50-AD6A1D57FB81}" type="presOf" srcId="{A240A1E1-162D-4A6E-A806-B6FF45B3AB68}" destId="{6E033C69-6BA8-4812-AE4E-0022A986E944}" srcOrd="0" destOrd="0" presId="urn:microsoft.com/office/officeart/2005/8/layout/orgChart1"/>
    <dgm:cxn modelId="{65E7A8F0-3A50-4B4C-973F-1309F0C1D166}" type="presOf" srcId="{90833815-F732-45AF-B735-7A208BE16A8A}" destId="{8FF15CAA-9BF1-4437-B877-2B6831555847}" srcOrd="1" destOrd="0" presId="urn:microsoft.com/office/officeart/2005/8/layout/orgChart1"/>
    <dgm:cxn modelId="{EBD1E26F-3ACC-4B1F-BA24-DEA7072743A8}" type="presOf" srcId="{2F6572D1-3E4E-41CC-B816-15F6AA753750}" destId="{C3C99CCA-0A47-4420-ABC8-53654C0C3796}" srcOrd="1" destOrd="0" presId="urn:microsoft.com/office/officeart/2005/8/layout/orgChart1"/>
    <dgm:cxn modelId="{4552F7CA-6B91-4342-9A96-71AE332953A1}" type="presOf" srcId="{E137C9BD-EE5B-476B-B7BA-BA0D9370FCFA}" destId="{4D1BB766-10EA-42C1-95FD-C81A7C8A7741}" srcOrd="1" destOrd="0" presId="urn:microsoft.com/office/officeart/2005/8/layout/orgChart1"/>
    <dgm:cxn modelId="{0D252A7C-EA88-478B-9AB7-96B65AE1E68A}" srcId="{43BDC9E6-B3ED-4E11-B81F-A36F96CA06AD}" destId="{1CE2D78B-C788-472A-8424-7F9A4AB5205E}" srcOrd="2" destOrd="0" parTransId="{6ED4E1AA-EFDD-4E70-836E-3DB36084DE98}" sibTransId="{1D0F051B-C9A8-457A-BE08-985EF4C28172}"/>
    <dgm:cxn modelId="{F7A3E24D-E962-4432-B9CE-8D5515A35501}" type="presOf" srcId="{3722DDF4-26E2-4422-A516-DEEAC3ECF65B}" destId="{A83ED5F7-10A0-45C9-B814-5804FA76917E}" srcOrd="0" destOrd="0" presId="urn:microsoft.com/office/officeart/2005/8/layout/orgChart1"/>
    <dgm:cxn modelId="{842F6243-5B59-437F-8753-DE41A4D1CCAE}" type="presOf" srcId="{6ED4E1AA-EFDD-4E70-836E-3DB36084DE98}" destId="{C137CAE9-66E1-459B-A733-9B53B02E07AF}" srcOrd="0" destOrd="0" presId="urn:microsoft.com/office/officeart/2005/8/layout/orgChart1"/>
    <dgm:cxn modelId="{ED4EA6C2-EB4C-413A-BCE1-AAD690A50A98}" type="presOf" srcId="{43BDC9E6-B3ED-4E11-B81F-A36F96CA06AD}" destId="{1AD90FEA-3135-49C2-A3C0-CFEDDC6405B3}" srcOrd="0" destOrd="0" presId="urn:microsoft.com/office/officeart/2005/8/layout/orgChart1"/>
    <dgm:cxn modelId="{85D6B017-7139-48FC-8B9F-9E7BAA691A6E}" type="presOf" srcId="{E420C67E-C4C2-476B-9B47-FFB47D587009}" destId="{45256018-C335-4CDB-9EC5-7AE2ABAC1E00}" srcOrd="1" destOrd="0" presId="urn:microsoft.com/office/officeart/2005/8/layout/orgChart1"/>
    <dgm:cxn modelId="{C1550453-F80A-46BB-B1AC-B4EA9E75644D}" type="presOf" srcId="{43BDC9E6-B3ED-4E11-B81F-A36F96CA06AD}" destId="{6EF86BC6-06CE-4768-9942-F4420543D5EE}" srcOrd="1" destOrd="0" presId="urn:microsoft.com/office/officeart/2005/8/layout/orgChart1"/>
    <dgm:cxn modelId="{D26C1DAB-C4C7-4472-AEAD-E19D6ED98FA1}" type="presOf" srcId="{35016019-1F0E-47A9-A9CB-AE98C0AFCFC1}" destId="{428A54D9-43F6-47B6-B3A2-FDCE09CB5A97}" srcOrd="0" destOrd="0" presId="urn:microsoft.com/office/officeart/2005/8/layout/orgChart1"/>
    <dgm:cxn modelId="{6E2E3B55-A6EB-46D7-B7D0-04629FD4C800}" srcId="{843E3B21-DC9F-4CF8-A7F1-93BF704E47A7}" destId="{9B931718-FC68-4B2E-9854-492BCFE6FE83}" srcOrd="2" destOrd="0" parTransId="{359E2506-5D19-4F9C-8688-C666576175A9}" sibTransId="{3113A228-1208-4305-91A0-AEEDFF54B5B2}"/>
    <dgm:cxn modelId="{064758C0-3B3B-4ECD-86F0-70E462DBE96E}" type="presOf" srcId="{1CE2D78B-C788-472A-8424-7F9A4AB5205E}" destId="{6D7B6648-0B7F-4E1F-B6C5-CE0E2F04B9FF}" srcOrd="1" destOrd="0" presId="urn:microsoft.com/office/officeart/2005/8/layout/orgChart1"/>
    <dgm:cxn modelId="{EDA1CC00-B7BF-4C33-979F-7E8F3F75CD28}" type="presOf" srcId="{A26E1133-27F8-42A1-91FE-23383B9ACC99}" destId="{E9F5810C-05C5-4937-8779-609DD6BD5CFD}" srcOrd="0" destOrd="0" presId="urn:microsoft.com/office/officeart/2005/8/layout/orgChart1"/>
    <dgm:cxn modelId="{1AF9FEE6-4B53-4C5D-AA27-06F924B1BD50}" type="presOf" srcId="{35016019-1F0E-47A9-A9CB-AE98C0AFCFC1}" destId="{31DAB6FE-4097-4695-9397-7DCCE262634B}" srcOrd="1" destOrd="0" presId="urn:microsoft.com/office/officeart/2005/8/layout/orgChart1"/>
    <dgm:cxn modelId="{A15B5C03-EEAA-4586-9C3E-00891E740623}" type="presOf" srcId="{5393009C-F2AE-4FEB-A060-2EF8CA0E315B}" destId="{F6DF7D20-97CE-45B5-8272-1D8DFBF4322E}" srcOrd="0" destOrd="0" presId="urn:microsoft.com/office/officeart/2005/8/layout/orgChart1"/>
    <dgm:cxn modelId="{DC50A4F1-FD6E-47DA-B27F-923598FA777B}" type="presOf" srcId="{1CE2D78B-C788-472A-8424-7F9A4AB5205E}" destId="{A5F2589C-C16C-45F2-9A3D-F2A6CB2476D1}" srcOrd="0" destOrd="0" presId="urn:microsoft.com/office/officeart/2005/8/layout/orgChart1"/>
    <dgm:cxn modelId="{7D16F31A-D5DB-4BF6-BAC5-BC9057F3B9E6}" type="presOf" srcId="{7D7C3FA2-CE75-4B7D-A218-416906B8D917}" destId="{63F8734B-291F-4EE9-8AEC-5D7130065FE8}" srcOrd="1" destOrd="0" presId="urn:microsoft.com/office/officeart/2005/8/layout/orgChart1"/>
    <dgm:cxn modelId="{E623C8DC-0A7B-4A69-831A-2CF7A1645F0A}" type="presOf" srcId="{3EEFE082-C4FA-499A-BA01-E4B8217A4B73}" destId="{A3BC68A0-CABF-4126-884C-C90818E1E26E}" srcOrd="0" destOrd="0" presId="urn:microsoft.com/office/officeart/2005/8/layout/orgChart1"/>
    <dgm:cxn modelId="{F4A525FD-8F23-46B6-B3A6-2ABE3732BCEF}" type="presOf" srcId="{62301F5E-BDD5-4369-B9CF-5999FECA1C85}" destId="{FE10A4AF-D8A8-4F2D-9661-56E5DBB5B2C5}" srcOrd="0" destOrd="0" presId="urn:microsoft.com/office/officeart/2005/8/layout/orgChart1"/>
    <dgm:cxn modelId="{8747CF93-F20C-440E-A4D2-0DBA8A816BE4}" type="presOf" srcId="{F0BD47AB-7AC9-40A2-A96D-1A911EFDE7FF}" destId="{AEDC7120-FE6F-49D8-95F2-AB1B2B6AC9A8}" srcOrd="0" destOrd="0" presId="urn:microsoft.com/office/officeart/2005/8/layout/orgChart1"/>
    <dgm:cxn modelId="{72A520A4-47FB-42B5-95BE-26095AC1CACB}" type="presOf" srcId="{A60BCA66-49BB-4275-9110-8B471B3FC59B}" destId="{28E82B1A-B1F2-4CC5-9B64-B60015CBF624}" srcOrd="0" destOrd="0" presId="urn:microsoft.com/office/officeart/2005/8/layout/orgChart1"/>
    <dgm:cxn modelId="{0F3B45E7-A071-48CF-BB17-6E6F97760809}" type="presOf" srcId="{843E3B21-DC9F-4CF8-A7F1-93BF704E47A7}" destId="{AB22B6A5-BFAD-4E5F-BED0-C002FA69FEEF}" srcOrd="1" destOrd="0" presId="urn:microsoft.com/office/officeart/2005/8/layout/orgChart1"/>
    <dgm:cxn modelId="{4F3BA516-7F11-42A3-94B1-08C50CB20421}" type="presOf" srcId="{06D97C9C-573D-4522-BCEF-4077A5734816}" destId="{467A6B0F-1874-4E90-8E08-3C8CB91FF5C1}" srcOrd="1" destOrd="0" presId="urn:microsoft.com/office/officeart/2005/8/layout/orgChart1"/>
    <dgm:cxn modelId="{FE3B379C-71D4-4888-9242-78F2CAD7E8F2}" type="presOf" srcId="{A240A1E1-162D-4A6E-A806-B6FF45B3AB68}" destId="{20C564F4-BF5C-4321-B86B-65391CEDEFC7}" srcOrd="1" destOrd="0" presId="urn:microsoft.com/office/officeart/2005/8/layout/orgChart1"/>
    <dgm:cxn modelId="{2648CEB6-4DB9-42A6-B700-4831395E15AC}" srcId="{843E3B21-DC9F-4CF8-A7F1-93BF704E47A7}" destId="{7D7C3FA2-CE75-4B7D-A218-416906B8D917}" srcOrd="1" destOrd="0" parTransId="{14236E25-24F5-4DBC-8E23-FED5A30DEF0E}" sibTransId="{FB40D391-DB77-4C2C-BDCE-7A207CEAE6FE}"/>
    <dgm:cxn modelId="{93C18DCF-6401-4C24-8BE2-77B239018EAB}" srcId="{843E3B21-DC9F-4CF8-A7F1-93BF704E47A7}" destId="{E137C9BD-EE5B-476B-B7BA-BA0D9370FCFA}" srcOrd="3" destOrd="0" parTransId="{55D0A0DD-88B0-4C7C-A785-02AC2DD8AEFB}" sibTransId="{BCD31398-9148-4314-98D5-83D75352DBF9}"/>
    <dgm:cxn modelId="{BDF33FCD-8E7A-4425-BCC6-902EF57A97EA}" type="presOf" srcId="{06D97C9C-573D-4522-BCEF-4077A5734816}" destId="{0B051ACB-AD4B-44A0-B203-A3F060DC178D}" srcOrd="0" destOrd="0" presId="urn:microsoft.com/office/officeart/2005/8/layout/orgChart1"/>
    <dgm:cxn modelId="{8B015F8A-8B51-4405-8E29-0F1E998626E9}" type="presOf" srcId="{720AE7B9-47AD-4FF9-8447-DF1B8C5FD193}" destId="{1D0BA542-EABF-46D4-A11D-8954A50A4A27}" srcOrd="1" destOrd="0" presId="urn:microsoft.com/office/officeart/2005/8/layout/orgChart1"/>
    <dgm:cxn modelId="{B5EE0F9E-3BA0-4E02-B1C1-EAE8D3F95AFA}" type="presOf" srcId="{720AE7B9-47AD-4FF9-8447-DF1B8C5FD193}" destId="{1064D61A-5C37-497D-A6F5-6312AB6E3F5A}" srcOrd="0" destOrd="0" presId="urn:microsoft.com/office/officeart/2005/8/layout/orgChart1"/>
    <dgm:cxn modelId="{9499B1C0-E3AD-4258-BFA0-53E014F58516}" type="presOf" srcId="{65D088B7-B36E-49AA-84B9-2BC51B326EA1}" destId="{96956835-3386-449C-A89B-65F7C680246D}" srcOrd="0" destOrd="0" presId="urn:microsoft.com/office/officeart/2005/8/layout/orgChart1"/>
    <dgm:cxn modelId="{D044061D-33F7-449E-8F83-958F02BB1618}" type="presOf" srcId="{73A0098F-31D8-453C-84FD-0E0CD7A87527}" destId="{B48C34C0-3268-4BDA-9392-41361EEA60C6}" srcOrd="0" destOrd="0" presId="urn:microsoft.com/office/officeart/2005/8/layout/orgChart1"/>
    <dgm:cxn modelId="{73968198-31F9-4E92-821A-4FEF65D520DA}" type="presOf" srcId="{7D7C3FA2-CE75-4B7D-A218-416906B8D917}" destId="{A77E27D0-EFD7-495B-9E1A-5A5371B8AB84}" srcOrd="0" destOrd="0" presId="urn:microsoft.com/office/officeart/2005/8/layout/orgChart1"/>
    <dgm:cxn modelId="{823C3DDD-4778-4A47-9CCF-05D1CAF70033}" srcId="{1CE2D78B-C788-472A-8424-7F9A4AB5205E}" destId="{73A0098F-31D8-453C-84FD-0E0CD7A87527}" srcOrd="4" destOrd="0" parTransId="{5393009C-F2AE-4FEB-A060-2EF8CA0E315B}" sibTransId="{16A80FE0-982B-4270-9C2E-D28AA7AD0DDC}"/>
    <dgm:cxn modelId="{B4C35124-13C1-4696-B6AE-10703A4F283C}" type="presOf" srcId="{2F6572D1-3E4E-41CC-B816-15F6AA753750}" destId="{7BABB840-5689-4566-85C9-55C4A127C4C6}" srcOrd="0" destOrd="0" presId="urn:microsoft.com/office/officeart/2005/8/layout/orgChart1"/>
    <dgm:cxn modelId="{06E71150-3811-4FC5-8858-0203DD6C998E}" srcId="{E420C67E-C4C2-476B-9B47-FFB47D587009}" destId="{2F6572D1-3E4E-41CC-B816-15F6AA753750}" srcOrd="2" destOrd="0" parTransId="{453F9760-1876-428B-8CB6-DA8F60516D89}" sibTransId="{F36BC338-6ADD-4D27-8F50-A2943AF092AF}"/>
    <dgm:cxn modelId="{AAC0F5F0-200B-4F71-860E-7322BB36D26B}" type="presOf" srcId="{49742260-F14F-4BCB-8D88-ADD2EB5024EC}" destId="{FA7ED8CE-14CF-4D38-BE63-D19E93618025}" srcOrd="1" destOrd="0" presId="urn:microsoft.com/office/officeart/2005/8/layout/orgChart1"/>
    <dgm:cxn modelId="{2AC6A1A2-FDAF-4C07-BF93-78DC05214544}" srcId="{43BDC9E6-B3ED-4E11-B81F-A36F96CA06AD}" destId="{E420C67E-C4C2-476B-9B47-FFB47D587009}" srcOrd="1" destOrd="0" parTransId="{65D088B7-B36E-49AA-84B9-2BC51B326EA1}" sibTransId="{7CC715FB-928E-4CFE-A8F5-045F16B2D743}"/>
    <dgm:cxn modelId="{07FA88B9-A0FB-497A-AE28-D120A7EF9818}" srcId="{1CE2D78B-C788-472A-8424-7F9A4AB5205E}" destId="{06D97C9C-573D-4522-BCEF-4077A5734816}" srcOrd="3" destOrd="0" parTransId="{8347F65C-462B-45FD-9066-355B95EA2540}" sibTransId="{D708F60A-A2AE-4945-B861-E8EBC113FD88}"/>
    <dgm:cxn modelId="{7E8A394C-0B32-41E9-BC7B-038412EB61D4}" srcId="{E420C67E-C4C2-476B-9B47-FFB47D587009}" destId="{CFEBB133-5D80-4E9D-815E-BA7E2B5804D2}" srcOrd="3" destOrd="0" parTransId="{6C5C9B86-7AAA-465B-98FF-E3F38189A3AE}" sibTransId="{7FDECB7D-540F-4AC8-A911-0EDE43878630}"/>
    <dgm:cxn modelId="{6397498B-03A7-4241-8FAE-A16D2D863AE5}" type="presOf" srcId="{9275B05E-F520-4192-9B33-84AEEBC3F62D}" destId="{11628582-088E-42FA-B6EC-953F652565B0}" srcOrd="0" destOrd="0" presId="urn:microsoft.com/office/officeart/2005/8/layout/orgChart1"/>
    <dgm:cxn modelId="{F0C0AED6-3BFB-430A-84C4-C1842ECA49F1}" srcId="{1CE2D78B-C788-472A-8424-7F9A4AB5205E}" destId="{35016019-1F0E-47A9-A9CB-AE98C0AFCFC1}" srcOrd="1" destOrd="0" parTransId="{A60BCA66-49BB-4275-9110-8B471B3FC59B}" sibTransId="{549EC933-326F-43C6-A4AD-B0C6604A5CF9}"/>
    <dgm:cxn modelId="{6A962928-A692-44FD-87D7-AFFEC876E796}" type="presOf" srcId="{6C5C9B86-7AAA-465B-98FF-E3F38189A3AE}" destId="{3A94D9E8-C2A3-4765-9477-D710CC646957}" srcOrd="0" destOrd="0" presId="urn:microsoft.com/office/officeart/2005/8/layout/orgChart1"/>
    <dgm:cxn modelId="{CCB5AE26-70F4-4C5B-B53D-136E39A12AC5}" srcId="{1CE2D78B-C788-472A-8424-7F9A4AB5205E}" destId="{A240A1E1-162D-4A6E-A806-B6FF45B3AB68}" srcOrd="0" destOrd="0" parTransId="{F0BD47AB-7AC9-40A2-A96D-1A911EFDE7FF}" sibTransId="{A12D77FB-8453-4F78-A007-65AD68966259}"/>
    <dgm:cxn modelId="{A847BE69-ACF0-4AC6-80E4-CEBBDFE91803}" type="presOf" srcId="{359E2506-5D19-4F9C-8688-C666576175A9}" destId="{50C84909-550F-4BDC-8966-B86E5E1786AE}" srcOrd="0" destOrd="0" presId="urn:microsoft.com/office/officeart/2005/8/layout/orgChart1"/>
    <dgm:cxn modelId="{3C110BFF-FD87-473E-9985-0D9D761E60BD}" srcId="{43BDC9E6-B3ED-4E11-B81F-A36F96CA06AD}" destId="{843E3B21-DC9F-4CF8-A7F1-93BF704E47A7}" srcOrd="0" destOrd="0" parTransId="{3EEFE082-C4FA-499A-BA01-E4B8217A4B73}" sibTransId="{2992CB8F-FBF4-486F-BE86-7AEC96D28238}"/>
    <dgm:cxn modelId="{6DFE264A-C855-4340-8BAD-A6420BEB3EAC}" type="presOf" srcId="{14236E25-24F5-4DBC-8E23-FED5A30DEF0E}" destId="{A2B3E9C0-0CE1-4B88-9E71-F7CE1A7F99D7}" srcOrd="0" destOrd="0" presId="urn:microsoft.com/office/officeart/2005/8/layout/orgChart1"/>
    <dgm:cxn modelId="{40E8D10D-84D0-40E1-BE0B-9DD9948971A1}" type="presParOf" srcId="{E9F5810C-05C5-4937-8779-609DD6BD5CFD}" destId="{25A00B3E-FEA8-439F-999E-8DB6BC95DBC0}" srcOrd="0" destOrd="0" presId="urn:microsoft.com/office/officeart/2005/8/layout/orgChart1"/>
    <dgm:cxn modelId="{25FDE108-71EB-4D03-8274-737CE0F33D56}" type="presParOf" srcId="{25A00B3E-FEA8-439F-999E-8DB6BC95DBC0}" destId="{305CB9B7-E4C6-453D-AC39-1DA3FA25C576}" srcOrd="0" destOrd="0" presId="urn:microsoft.com/office/officeart/2005/8/layout/orgChart1"/>
    <dgm:cxn modelId="{B1130A54-E478-4FB7-9596-13C10A7915BB}" type="presParOf" srcId="{305CB9B7-E4C6-453D-AC39-1DA3FA25C576}" destId="{1AD90FEA-3135-49C2-A3C0-CFEDDC6405B3}" srcOrd="0" destOrd="0" presId="urn:microsoft.com/office/officeart/2005/8/layout/orgChart1"/>
    <dgm:cxn modelId="{EA44C7B3-6610-4B16-A2A2-610A66B6FEA2}" type="presParOf" srcId="{305CB9B7-E4C6-453D-AC39-1DA3FA25C576}" destId="{6EF86BC6-06CE-4768-9942-F4420543D5EE}" srcOrd="1" destOrd="0" presId="urn:microsoft.com/office/officeart/2005/8/layout/orgChart1"/>
    <dgm:cxn modelId="{276400B9-DF4A-4B02-8A56-2648591E209B}" type="presParOf" srcId="{25A00B3E-FEA8-439F-999E-8DB6BC95DBC0}" destId="{EC72B6B4-B63E-4FE2-8CC2-5FA221770366}" srcOrd="1" destOrd="0" presId="urn:microsoft.com/office/officeart/2005/8/layout/orgChart1"/>
    <dgm:cxn modelId="{E6FB6B00-D52E-4497-9139-C8A8AADC7307}" type="presParOf" srcId="{EC72B6B4-B63E-4FE2-8CC2-5FA221770366}" destId="{A3BC68A0-CABF-4126-884C-C90818E1E26E}" srcOrd="0" destOrd="0" presId="urn:microsoft.com/office/officeart/2005/8/layout/orgChart1"/>
    <dgm:cxn modelId="{C8CBFC85-C68F-48D9-9DAF-906FA9CED274}" type="presParOf" srcId="{EC72B6B4-B63E-4FE2-8CC2-5FA221770366}" destId="{9B84C5AA-6259-445A-8F7A-6D366FCBB4AD}" srcOrd="1" destOrd="0" presId="urn:microsoft.com/office/officeart/2005/8/layout/orgChart1"/>
    <dgm:cxn modelId="{DCB0E96A-3A8F-4BE4-B7C8-C0D84B54CC77}" type="presParOf" srcId="{9B84C5AA-6259-445A-8F7A-6D366FCBB4AD}" destId="{F324FB99-E565-440D-9319-A2867DA87756}" srcOrd="0" destOrd="0" presId="urn:microsoft.com/office/officeart/2005/8/layout/orgChart1"/>
    <dgm:cxn modelId="{9E8A2EB4-9518-4982-A86E-1A8F35817A30}" type="presParOf" srcId="{F324FB99-E565-440D-9319-A2867DA87756}" destId="{5E5C4910-D5C2-4117-9825-0F4E2308A1D4}" srcOrd="0" destOrd="0" presId="urn:microsoft.com/office/officeart/2005/8/layout/orgChart1"/>
    <dgm:cxn modelId="{E2CF411C-AE05-45CF-88F1-E1F53A0F14AE}" type="presParOf" srcId="{F324FB99-E565-440D-9319-A2867DA87756}" destId="{AB22B6A5-BFAD-4E5F-BED0-C002FA69FEEF}" srcOrd="1" destOrd="0" presId="urn:microsoft.com/office/officeart/2005/8/layout/orgChart1"/>
    <dgm:cxn modelId="{BB3C25AB-9645-41FE-9CD4-95F3B981FDD5}" type="presParOf" srcId="{9B84C5AA-6259-445A-8F7A-6D366FCBB4AD}" destId="{16186025-4BC6-46E2-97F6-F9084F02632D}" srcOrd="1" destOrd="0" presId="urn:microsoft.com/office/officeart/2005/8/layout/orgChart1"/>
    <dgm:cxn modelId="{DAAB6E58-10C0-44D9-ABE7-509038999382}" type="presParOf" srcId="{16186025-4BC6-46E2-97F6-F9084F02632D}" destId="{A83ED5F7-10A0-45C9-B814-5804FA76917E}" srcOrd="0" destOrd="0" presId="urn:microsoft.com/office/officeart/2005/8/layout/orgChart1"/>
    <dgm:cxn modelId="{242D6CEE-4030-4BF8-8B44-BAAF2907158C}" type="presParOf" srcId="{16186025-4BC6-46E2-97F6-F9084F02632D}" destId="{D44CFE56-6231-4D51-BDF4-F9842887D455}" srcOrd="1" destOrd="0" presId="urn:microsoft.com/office/officeart/2005/8/layout/orgChart1"/>
    <dgm:cxn modelId="{179EA443-A7CE-4208-9976-1F9695664EBA}" type="presParOf" srcId="{D44CFE56-6231-4D51-BDF4-F9842887D455}" destId="{F340CB26-8421-44AC-9592-9BB7E87D96B8}" srcOrd="0" destOrd="0" presId="urn:microsoft.com/office/officeart/2005/8/layout/orgChart1"/>
    <dgm:cxn modelId="{E58CBAAC-02C5-411D-AEE7-689B76ED081D}" type="presParOf" srcId="{F340CB26-8421-44AC-9592-9BB7E87D96B8}" destId="{1064D61A-5C37-497D-A6F5-6312AB6E3F5A}" srcOrd="0" destOrd="0" presId="urn:microsoft.com/office/officeart/2005/8/layout/orgChart1"/>
    <dgm:cxn modelId="{9383DEDE-AF7D-42E5-9872-CE9E5F9FADEC}" type="presParOf" srcId="{F340CB26-8421-44AC-9592-9BB7E87D96B8}" destId="{1D0BA542-EABF-46D4-A11D-8954A50A4A27}" srcOrd="1" destOrd="0" presId="urn:microsoft.com/office/officeart/2005/8/layout/orgChart1"/>
    <dgm:cxn modelId="{D5DD5AB6-E0E4-4ABC-B352-26FE46E1B425}" type="presParOf" srcId="{D44CFE56-6231-4D51-BDF4-F9842887D455}" destId="{CB5479DD-BB83-4A7F-A8FE-0204BBEBDE57}" srcOrd="1" destOrd="0" presId="urn:microsoft.com/office/officeart/2005/8/layout/orgChart1"/>
    <dgm:cxn modelId="{E329A934-D59B-43BD-9804-962F0904ACCA}" type="presParOf" srcId="{D44CFE56-6231-4D51-BDF4-F9842887D455}" destId="{72F3B94E-5E2C-4DF9-BCD5-3D635951032C}" srcOrd="2" destOrd="0" presId="urn:microsoft.com/office/officeart/2005/8/layout/orgChart1"/>
    <dgm:cxn modelId="{60EE443D-4A14-4F20-A0F2-C117F84D4F18}" type="presParOf" srcId="{16186025-4BC6-46E2-97F6-F9084F02632D}" destId="{A2B3E9C0-0CE1-4B88-9E71-F7CE1A7F99D7}" srcOrd="2" destOrd="0" presId="urn:microsoft.com/office/officeart/2005/8/layout/orgChart1"/>
    <dgm:cxn modelId="{D50E33CF-909D-4788-9824-9C5DC6921493}" type="presParOf" srcId="{16186025-4BC6-46E2-97F6-F9084F02632D}" destId="{16797127-63BB-4E8C-8005-5E72B3FF9B3C}" srcOrd="3" destOrd="0" presId="urn:microsoft.com/office/officeart/2005/8/layout/orgChart1"/>
    <dgm:cxn modelId="{2F575783-E9DF-4816-BBE5-0BDCFE76B519}" type="presParOf" srcId="{16797127-63BB-4E8C-8005-5E72B3FF9B3C}" destId="{4DFEF789-40AF-4966-81EA-F7C1CBE52773}" srcOrd="0" destOrd="0" presId="urn:microsoft.com/office/officeart/2005/8/layout/orgChart1"/>
    <dgm:cxn modelId="{AF3FBFEB-ECC9-4F41-95F7-269194BB3994}" type="presParOf" srcId="{4DFEF789-40AF-4966-81EA-F7C1CBE52773}" destId="{A77E27D0-EFD7-495B-9E1A-5A5371B8AB84}" srcOrd="0" destOrd="0" presId="urn:microsoft.com/office/officeart/2005/8/layout/orgChart1"/>
    <dgm:cxn modelId="{001177CB-133A-4181-BBD3-D761D5029E70}" type="presParOf" srcId="{4DFEF789-40AF-4966-81EA-F7C1CBE52773}" destId="{63F8734B-291F-4EE9-8AEC-5D7130065FE8}" srcOrd="1" destOrd="0" presId="urn:microsoft.com/office/officeart/2005/8/layout/orgChart1"/>
    <dgm:cxn modelId="{897BD31B-BFD6-4B3A-A2C4-7A0590822078}" type="presParOf" srcId="{16797127-63BB-4E8C-8005-5E72B3FF9B3C}" destId="{F1241E53-1837-4666-9A60-B6AD42958195}" srcOrd="1" destOrd="0" presId="urn:microsoft.com/office/officeart/2005/8/layout/orgChart1"/>
    <dgm:cxn modelId="{4F86DBF2-E6A1-4995-9372-1B2057324303}" type="presParOf" srcId="{16797127-63BB-4E8C-8005-5E72B3FF9B3C}" destId="{E1079AD2-0C8E-44F0-9596-6D504E6161CE}" srcOrd="2" destOrd="0" presId="urn:microsoft.com/office/officeart/2005/8/layout/orgChart1"/>
    <dgm:cxn modelId="{8396814E-662C-4550-8B2B-14A29FE5E740}" type="presParOf" srcId="{16186025-4BC6-46E2-97F6-F9084F02632D}" destId="{50C84909-550F-4BDC-8966-B86E5E1786AE}" srcOrd="4" destOrd="0" presId="urn:microsoft.com/office/officeart/2005/8/layout/orgChart1"/>
    <dgm:cxn modelId="{148AEBDB-1B32-498A-BAB0-31817BD98934}" type="presParOf" srcId="{16186025-4BC6-46E2-97F6-F9084F02632D}" destId="{EBCAC25B-3E97-4708-AA7E-0D44E4C06B2C}" srcOrd="5" destOrd="0" presId="urn:microsoft.com/office/officeart/2005/8/layout/orgChart1"/>
    <dgm:cxn modelId="{BB592E2D-6E1A-4C59-B007-A384C93725F2}" type="presParOf" srcId="{EBCAC25B-3E97-4708-AA7E-0D44E4C06B2C}" destId="{56A22D43-7DD1-46E6-B06A-D1D662EE6DAD}" srcOrd="0" destOrd="0" presId="urn:microsoft.com/office/officeart/2005/8/layout/orgChart1"/>
    <dgm:cxn modelId="{C8093339-1AE4-470B-AA04-ED519FFA12DA}" type="presParOf" srcId="{56A22D43-7DD1-46E6-B06A-D1D662EE6DAD}" destId="{984A4F3B-0A00-4E5A-9092-1922B8A7FAB3}" srcOrd="0" destOrd="0" presId="urn:microsoft.com/office/officeart/2005/8/layout/orgChart1"/>
    <dgm:cxn modelId="{A2026AFA-F6DA-44B2-91F8-AF6895C954AB}" type="presParOf" srcId="{56A22D43-7DD1-46E6-B06A-D1D662EE6DAD}" destId="{700B55C8-272E-490B-AB5F-A5C6369E8C79}" srcOrd="1" destOrd="0" presId="urn:microsoft.com/office/officeart/2005/8/layout/orgChart1"/>
    <dgm:cxn modelId="{120C43EB-5D88-455A-8C99-58CF57589FF7}" type="presParOf" srcId="{EBCAC25B-3E97-4708-AA7E-0D44E4C06B2C}" destId="{18D6C1B6-F902-4ABE-BB60-086B907C1C3A}" srcOrd="1" destOrd="0" presId="urn:microsoft.com/office/officeart/2005/8/layout/orgChart1"/>
    <dgm:cxn modelId="{9EA577D2-C57A-4D9E-9B84-3337473FAAA8}" type="presParOf" srcId="{EBCAC25B-3E97-4708-AA7E-0D44E4C06B2C}" destId="{4E3F742A-A2F5-4971-A026-90DA3CFE956C}" srcOrd="2" destOrd="0" presId="urn:microsoft.com/office/officeart/2005/8/layout/orgChart1"/>
    <dgm:cxn modelId="{F7BB7022-A426-4038-993B-BA53204BEB02}" type="presParOf" srcId="{16186025-4BC6-46E2-97F6-F9084F02632D}" destId="{CF00A05E-81E0-4C4F-9FC9-0B1D7BC7DE00}" srcOrd="6" destOrd="0" presId="urn:microsoft.com/office/officeart/2005/8/layout/orgChart1"/>
    <dgm:cxn modelId="{B3AB1936-C5EE-44B6-A23B-F16C9F2708FF}" type="presParOf" srcId="{16186025-4BC6-46E2-97F6-F9084F02632D}" destId="{A00A133F-9C71-422B-B8D5-E1805943DC75}" srcOrd="7" destOrd="0" presId="urn:microsoft.com/office/officeart/2005/8/layout/orgChart1"/>
    <dgm:cxn modelId="{B9773B74-904A-43FB-BCFB-E7A6A5F29ACD}" type="presParOf" srcId="{A00A133F-9C71-422B-B8D5-E1805943DC75}" destId="{B2A302CD-478F-47E1-BBE5-EDCA7054BF9D}" srcOrd="0" destOrd="0" presId="urn:microsoft.com/office/officeart/2005/8/layout/orgChart1"/>
    <dgm:cxn modelId="{5A2ED3F1-FB00-4325-83AB-B07C7C659F61}" type="presParOf" srcId="{B2A302CD-478F-47E1-BBE5-EDCA7054BF9D}" destId="{BA6AC4DB-0F64-47C4-8289-FB0923B8558A}" srcOrd="0" destOrd="0" presId="urn:microsoft.com/office/officeart/2005/8/layout/orgChart1"/>
    <dgm:cxn modelId="{3DD806A5-4574-4793-B819-2C95754551AD}" type="presParOf" srcId="{B2A302CD-478F-47E1-BBE5-EDCA7054BF9D}" destId="{4D1BB766-10EA-42C1-95FD-C81A7C8A7741}" srcOrd="1" destOrd="0" presId="urn:microsoft.com/office/officeart/2005/8/layout/orgChart1"/>
    <dgm:cxn modelId="{3B6A74B4-EF92-4B58-BEBB-7A5D51916F3C}" type="presParOf" srcId="{A00A133F-9C71-422B-B8D5-E1805943DC75}" destId="{C0EE058C-ACBB-444C-AC89-E22EE759A819}" srcOrd="1" destOrd="0" presId="urn:microsoft.com/office/officeart/2005/8/layout/orgChart1"/>
    <dgm:cxn modelId="{86B36ADB-9256-4A14-953B-659F3B2A5F01}" type="presParOf" srcId="{A00A133F-9C71-422B-B8D5-E1805943DC75}" destId="{87AEEA8C-77A3-4494-BB33-3FA6A927D4FE}" srcOrd="2" destOrd="0" presId="urn:microsoft.com/office/officeart/2005/8/layout/orgChart1"/>
    <dgm:cxn modelId="{06285AE7-A8D8-4F9F-8926-8187FF900511}" type="presParOf" srcId="{9B84C5AA-6259-445A-8F7A-6D366FCBB4AD}" destId="{82355405-192E-42E7-B905-7A6FE845C6D9}" srcOrd="2" destOrd="0" presId="urn:microsoft.com/office/officeart/2005/8/layout/orgChart1"/>
    <dgm:cxn modelId="{145032F2-73A2-43EE-9A3F-0455980C2BD9}" type="presParOf" srcId="{EC72B6B4-B63E-4FE2-8CC2-5FA221770366}" destId="{96956835-3386-449C-A89B-65F7C680246D}" srcOrd="2" destOrd="0" presId="urn:microsoft.com/office/officeart/2005/8/layout/orgChart1"/>
    <dgm:cxn modelId="{5F06A1D8-59E9-4AC5-88F3-135189AA9D61}" type="presParOf" srcId="{EC72B6B4-B63E-4FE2-8CC2-5FA221770366}" destId="{DBD72DFC-EF80-4973-B6E5-D3C9AB052F9E}" srcOrd="3" destOrd="0" presId="urn:microsoft.com/office/officeart/2005/8/layout/orgChart1"/>
    <dgm:cxn modelId="{07660A20-4C88-4AB2-BD77-7EEB58448874}" type="presParOf" srcId="{DBD72DFC-EF80-4973-B6E5-D3C9AB052F9E}" destId="{72B31F8C-4060-4D82-8D0A-8A332812C464}" srcOrd="0" destOrd="0" presId="urn:microsoft.com/office/officeart/2005/8/layout/orgChart1"/>
    <dgm:cxn modelId="{C4B104BA-0B0A-4C1F-A443-56574B2FE59F}" type="presParOf" srcId="{72B31F8C-4060-4D82-8D0A-8A332812C464}" destId="{F0ED6141-24DB-4164-A2D4-B51E750525CD}" srcOrd="0" destOrd="0" presId="urn:microsoft.com/office/officeart/2005/8/layout/orgChart1"/>
    <dgm:cxn modelId="{C532905B-8F89-4696-AAE1-7E9654601A12}" type="presParOf" srcId="{72B31F8C-4060-4D82-8D0A-8A332812C464}" destId="{45256018-C335-4CDB-9EC5-7AE2ABAC1E00}" srcOrd="1" destOrd="0" presId="urn:microsoft.com/office/officeart/2005/8/layout/orgChart1"/>
    <dgm:cxn modelId="{1D6E2849-EB4E-4198-96E2-7237BC7CE255}" type="presParOf" srcId="{DBD72DFC-EF80-4973-B6E5-D3C9AB052F9E}" destId="{2A7D3334-4741-4667-BCDB-1A78491B4FD4}" srcOrd="1" destOrd="0" presId="urn:microsoft.com/office/officeart/2005/8/layout/orgChart1"/>
    <dgm:cxn modelId="{A35D4397-8935-4997-B9FF-903C14FFC0CD}" type="presParOf" srcId="{2A7D3334-4741-4667-BCDB-1A78491B4FD4}" destId="{CC07306D-4BD7-4477-BB61-A954489058D6}" srcOrd="0" destOrd="0" presId="urn:microsoft.com/office/officeart/2005/8/layout/orgChart1"/>
    <dgm:cxn modelId="{216C112E-FD93-4C1C-9D14-153BA9C3DDCC}" type="presParOf" srcId="{2A7D3334-4741-4667-BCDB-1A78491B4FD4}" destId="{0ECB6EE9-64D7-46FB-8A0A-B83CD370F0B4}" srcOrd="1" destOrd="0" presId="urn:microsoft.com/office/officeart/2005/8/layout/orgChart1"/>
    <dgm:cxn modelId="{497442C5-85BB-492C-BC4F-45132E7AE8D3}" type="presParOf" srcId="{0ECB6EE9-64D7-46FB-8A0A-B83CD370F0B4}" destId="{9D96850F-E3A0-4435-B942-5F48B18AC5F4}" srcOrd="0" destOrd="0" presId="urn:microsoft.com/office/officeart/2005/8/layout/orgChart1"/>
    <dgm:cxn modelId="{DB017895-BA3B-44EB-8F94-3B428621673D}" type="presParOf" srcId="{9D96850F-E3A0-4435-B942-5F48B18AC5F4}" destId="{CBCDE87F-FA6C-44B8-A9C2-1E747BE7F736}" srcOrd="0" destOrd="0" presId="urn:microsoft.com/office/officeart/2005/8/layout/orgChart1"/>
    <dgm:cxn modelId="{C462E2FA-6229-43C1-8386-74B9645E2A14}" type="presParOf" srcId="{9D96850F-E3A0-4435-B942-5F48B18AC5F4}" destId="{CF9F174C-7D69-49F6-A7FE-7ED9990EB82A}" srcOrd="1" destOrd="0" presId="urn:microsoft.com/office/officeart/2005/8/layout/orgChart1"/>
    <dgm:cxn modelId="{561438B2-F6C6-4E35-92EE-751D078D8206}" type="presParOf" srcId="{0ECB6EE9-64D7-46FB-8A0A-B83CD370F0B4}" destId="{1934090D-CBAE-4AB8-9BE7-C9762145998D}" srcOrd="1" destOrd="0" presId="urn:microsoft.com/office/officeart/2005/8/layout/orgChart1"/>
    <dgm:cxn modelId="{26439715-8AD3-45B8-B511-B95C018E3A1E}" type="presParOf" srcId="{0ECB6EE9-64D7-46FB-8A0A-B83CD370F0B4}" destId="{7BCCCAFF-8404-460B-9A5A-B8BF91057993}" srcOrd="2" destOrd="0" presId="urn:microsoft.com/office/officeart/2005/8/layout/orgChart1"/>
    <dgm:cxn modelId="{FD096FD8-6D6D-4EB3-9685-A9D4B793128C}" type="presParOf" srcId="{2A7D3334-4741-4667-BCDB-1A78491B4FD4}" destId="{FE10A4AF-D8A8-4F2D-9661-56E5DBB5B2C5}" srcOrd="2" destOrd="0" presId="urn:microsoft.com/office/officeart/2005/8/layout/orgChart1"/>
    <dgm:cxn modelId="{12E38EAD-BB68-4322-A337-4314D232FA2B}" type="presParOf" srcId="{2A7D3334-4741-4667-BCDB-1A78491B4FD4}" destId="{6E36B90A-357D-4409-934D-6F40EC568AE0}" srcOrd="3" destOrd="0" presId="urn:microsoft.com/office/officeart/2005/8/layout/orgChart1"/>
    <dgm:cxn modelId="{D9A69FFA-622D-4C00-9541-36DB67276043}" type="presParOf" srcId="{6E36B90A-357D-4409-934D-6F40EC568AE0}" destId="{AB55976F-0A75-48BF-8621-9232364F260E}" srcOrd="0" destOrd="0" presId="urn:microsoft.com/office/officeart/2005/8/layout/orgChart1"/>
    <dgm:cxn modelId="{1557826E-B3CF-42D4-B2D2-21CE9C606D42}" type="presParOf" srcId="{AB55976F-0A75-48BF-8621-9232364F260E}" destId="{5D0F02D1-4A23-4B53-AF4F-3529BE69829E}" srcOrd="0" destOrd="0" presId="urn:microsoft.com/office/officeart/2005/8/layout/orgChart1"/>
    <dgm:cxn modelId="{C25CFB3A-2E34-4247-9FB9-0B85BF472CC6}" type="presParOf" srcId="{AB55976F-0A75-48BF-8621-9232364F260E}" destId="{8FF15CAA-9BF1-4437-B877-2B6831555847}" srcOrd="1" destOrd="0" presId="urn:microsoft.com/office/officeart/2005/8/layout/orgChart1"/>
    <dgm:cxn modelId="{DCFD5313-A880-4CB9-A546-B5839A404E65}" type="presParOf" srcId="{6E36B90A-357D-4409-934D-6F40EC568AE0}" destId="{8EE5665B-F21D-4DA6-A444-6C77DD3C6F95}" srcOrd="1" destOrd="0" presId="urn:microsoft.com/office/officeart/2005/8/layout/orgChart1"/>
    <dgm:cxn modelId="{14C38155-C397-41A6-93D4-30149F85614B}" type="presParOf" srcId="{6E36B90A-357D-4409-934D-6F40EC568AE0}" destId="{F1F43870-C4AC-4AF4-AB05-6A054FC06D63}" srcOrd="2" destOrd="0" presId="urn:microsoft.com/office/officeart/2005/8/layout/orgChart1"/>
    <dgm:cxn modelId="{9CF40177-A51F-4D38-8769-E5E37403732F}" type="presParOf" srcId="{2A7D3334-4741-4667-BCDB-1A78491B4FD4}" destId="{1D4D3FE4-1739-4B3C-ACD2-597D18FBC50F}" srcOrd="4" destOrd="0" presId="urn:microsoft.com/office/officeart/2005/8/layout/orgChart1"/>
    <dgm:cxn modelId="{D4A8BCAE-BE4F-432F-9464-BE4E1BDC7775}" type="presParOf" srcId="{2A7D3334-4741-4667-BCDB-1A78491B4FD4}" destId="{9115B6B6-EA79-4FE0-843B-D82CDE234246}" srcOrd="5" destOrd="0" presId="urn:microsoft.com/office/officeart/2005/8/layout/orgChart1"/>
    <dgm:cxn modelId="{9FE9B0BF-4F64-462C-AADC-E2DE442D6E6F}" type="presParOf" srcId="{9115B6B6-EA79-4FE0-843B-D82CDE234246}" destId="{B54B6D9A-0CB7-42FF-A0FD-F2137F2080D7}" srcOrd="0" destOrd="0" presId="urn:microsoft.com/office/officeart/2005/8/layout/orgChart1"/>
    <dgm:cxn modelId="{2C979642-22DC-4FD8-844B-C48BA93D3C93}" type="presParOf" srcId="{B54B6D9A-0CB7-42FF-A0FD-F2137F2080D7}" destId="{7BABB840-5689-4566-85C9-55C4A127C4C6}" srcOrd="0" destOrd="0" presId="urn:microsoft.com/office/officeart/2005/8/layout/orgChart1"/>
    <dgm:cxn modelId="{971A3FE5-CD1E-4DFA-AC07-C5FBC5B89DC7}" type="presParOf" srcId="{B54B6D9A-0CB7-42FF-A0FD-F2137F2080D7}" destId="{C3C99CCA-0A47-4420-ABC8-53654C0C3796}" srcOrd="1" destOrd="0" presId="urn:microsoft.com/office/officeart/2005/8/layout/orgChart1"/>
    <dgm:cxn modelId="{B52D3BE7-A689-471D-AD63-8F7DE8DB7BAC}" type="presParOf" srcId="{9115B6B6-EA79-4FE0-843B-D82CDE234246}" destId="{0D889D42-77FB-49A7-B6E8-3A8C670AFEAD}" srcOrd="1" destOrd="0" presId="urn:microsoft.com/office/officeart/2005/8/layout/orgChart1"/>
    <dgm:cxn modelId="{12EF71FB-7312-4161-8702-450E4786F8B7}" type="presParOf" srcId="{9115B6B6-EA79-4FE0-843B-D82CDE234246}" destId="{6BE4F57E-EC21-4523-B1EB-3AEDD24C4D44}" srcOrd="2" destOrd="0" presId="urn:microsoft.com/office/officeart/2005/8/layout/orgChart1"/>
    <dgm:cxn modelId="{9A372A34-1102-4BD1-8CEA-A85226A5BDE1}" type="presParOf" srcId="{2A7D3334-4741-4667-BCDB-1A78491B4FD4}" destId="{3A94D9E8-C2A3-4765-9477-D710CC646957}" srcOrd="6" destOrd="0" presId="urn:microsoft.com/office/officeart/2005/8/layout/orgChart1"/>
    <dgm:cxn modelId="{E2488BB0-AA24-4B3A-984F-8139A7E38841}" type="presParOf" srcId="{2A7D3334-4741-4667-BCDB-1A78491B4FD4}" destId="{2EAD44A1-134B-439B-87EC-257234921AE5}" srcOrd="7" destOrd="0" presId="urn:microsoft.com/office/officeart/2005/8/layout/orgChart1"/>
    <dgm:cxn modelId="{DCE097F9-9C60-4EA5-8516-9041F030A427}" type="presParOf" srcId="{2EAD44A1-134B-439B-87EC-257234921AE5}" destId="{2FB73BF3-3C5D-4AD3-9D1C-8A589100FCB7}" srcOrd="0" destOrd="0" presId="urn:microsoft.com/office/officeart/2005/8/layout/orgChart1"/>
    <dgm:cxn modelId="{741E3A00-6372-4C2F-8B31-274B7BBE0199}" type="presParOf" srcId="{2FB73BF3-3C5D-4AD3-9D1C-8A589100FCB7}" destId="{50D60845-A14B-4DD0-8DB4-8B07FEB31A21}" srcOrd="0" destOrd="0" presId="urn:microsoft.com/office/officeart/2005/8/layout/orgChart1"/>
    <dgm:cxn modelId="{7FDCE435-63DB-4A39-9DBC-AE7256F48965}" type="presParOf" srcId="{2FB73BF3-3C5D-4AD3-9D1C-8A589100FCB7}" destId="{F55C39B9-C17D-4782-B68D-D9F73AAEE095}" srcOrd="1" destOrd="0" presId="urn:microsoft.com/office/officeart/2005/8/layout/orgChart1"/>
    <dgm:cxn modelId="{E3E58A04-CC4F-4389-88B7-7EB47CF474C8}" type="presParOf" srcId="{2EAD44A1-134B-439B-87EC-257234921AE5}" destId="{FE161E8F-9C2C-4330-91D6-9E6A7C6F19FB}" srcOrd="1" destOrd="0" presId="urn:microsoft.com/office/officeart/2005/8/layout/orgChart1"/>
    <dgm:cxn modelId="{E500D373-8DC3-4BD8-8F65-4457AA2EAA71}" type="presParOf" srcId="{2EAD44A1-134B-439B-87EC-257234921AE5}" destId="{DCFA5C64-38E4-453B-BB1F-AE8ADB7F8B50}" srcOrd="2" destOrd="0" presId="urn:microsoft.com/office/officeart/2005/8/layout/orgChart1"/>
    <dgm:cxn modelId="{EE7B9E19-7251-4A45-A5DD-ECA36B62EEA7}" type="presParOf" srcId="{DBD72DFC-EF80-4973-B6E5-D3C9AB052F9E}" destId="{1DBB8D6B-1EA9-448A-B87B-A162873E7B21}" srcOrd="2" destOrd="0" presId="urn:microsoft.com/office/officeart/2005/8/layout/orgChart1"/>
    <dgm:cxn modelId="{A2E03BC1-7E34-42E9-B167-3B00ECD195A9}" type="presParOf" srcId="{EC72B6B4-B63E-4FE2-8CC2-5FA221770366}" destId="{C137CAE9-66E1-459B-A733-9B53B02E07AF}" srcOrd="4" destOrd="0" presId="urn:microsoft.com/office/officeart/2005/8/layout/orgChart1"/>
    <dgm:cxn modelId="{E4480E26-36D7-42D8-909B-4C924206C042}" type="presParOf" srcId="{EC72B6B4-B63E-4FE2-8CC2-5FA221770366}" destId="{35CBA655-D40F-4A2B-B71A-711D392B5A84}" srcOrd="5" destOrd="0" presId="urn:microsoft.com/office/officeart/2005/8/layout/orgChart1"/>
    <dgm:cxn modelId="{7CD4876B-EB46-4220-88D8-035BC24BD89F}" type="presParOf" srcId="{35CBA655-D40F-4A2B-B71A-711D392B5A84}" destId="{9DC86AED-B6DB-4100-9EA0-4E60FFB4A367}" srcOrd="0" destOrd="0" presId="urn:microsoft.com/office/officeart/2005/8/layout/orgChart1"/>
    <dgm:cxn modelId="{3A8C9227-F4F4-4FF4-84ED-597B3491F422}" type="presParOf" srcId="{9DC86AED-B6DB-4100-9EA0-4E60FFB4A367}" destId="{A5F2589C-C16C-45F2-9A3D-F2A6CB2476D1}" srcOrd="0" destOrd="0" presId="urn:microsoft.com/office/officeart/2005/8/layout/orgChart1"/>
    <dgm:cxn modelId="{E6FCFD2D-B763-49E6-A6D3-3AE8BA6B5856}" type="presParOf" srcId="{9DC86AED-B6DB-4100-9EA0-4E60FFB4A367}" destId="{6D7B6648-0B7F-4E1F-B6C5-CE0E2F04B9FF}" srcOrd="1" destOrd="0" presId="urn:microsoft.com/office/officeart/2005/8/layout/orgChart1"/>
    <dgm:cxn modelId="{AA3F4B01-9493-4333-B2B1-D57FE64D5D9E}" type="presParOf" srcId="{35CBA655-D40F-4A2B-B71A-711D392B5A84}" destId="{29CE8073-D253-4588-B954-7167D33B1947}" srcOrd="1" destOrd="0" presId="urn:microsoft.com/office/officeart/2005/8/layout/orgChart1"/>
    <dgm:cxn modelId="{E0F70289-41D7-44B2-B44E-B083DEBE3159}" type="presParOf" srcId="{29CE8073-D253-4588-B954-7167D33B1947}" destId="{AEDC7120-FE6F-49D8-95F2-AB1B2B6AC9A8}" srcOrd="0" destOrd="0" presId="urn:microsoft.com/office/officeart/2005/8/layout/orgChart1"/>
    <dgm:cxn modelId="{ED1532F0-7EAC-479F-9F33-C69A1E0641C5}" type="presParOf" srcId="{29CE8073-D253-4588-B954-7167D33B1947}" destId="{F65159AB-B6AE-4C58-BE85-DB4966F15FBA}" srcOrd="1" destOrd="0" presId="urn:microsoft.com/office/officeart/2005/8/layout/orgChart1"/>
    <dgm:cxn modelId="{B35BF2B6-D932-46A6-8A5C-616674CA13FA}" type="presParOf" srcId="{F65159AB-B6AE-4C58-BE85-DB4966F15FBA}" destId="{4413A7CD-B07B-4481-95F7-63264BEB8326}" srcOrd="0" destOrd="0" presId="urn:microsoft.com/office/officeart/2005/8/layout/orgChart1"/>
    <dgm:cxn modelId="{35563AE7-40C7-45D6-80E1-C8CDCF1F817C}" type="presParOf" srcId="{4413A7CD-B07B-4481-95F7-63264BEB8326}" destId="{6E033C69-6BA8-4812-AE4E-0022A986E944}" srcOrd="0" destOrd="0" presId="urn:microsoft.com/office/officeart/2005/8/layout/orgChart1"/>
    <dgm:cxn modelId="{E5FE08E8-922A-44C8-8749-5F4536FBFE86}" type="presParOf" srcId="{4413A7CD-B07B-4481-95F7-63264BEB8326}" destId="{20C564F4-BF5C-4321-B86B-65391CEDEFC7}" srcOrd="1" destOrd="0" presId="urn:microsoft.com/office/officeart/2005/8/layout/orgChart1"/>
    <dgm:cxn modelId="{81210148-576E-46CD-91E1-F2789B66FD87}" type="presParOf" srcId="{F65159AB-B6AE-4C58-BE85-DB4966F15FBA}" destId="{7C0A51FE-5187-4FBA-A9F6-DFFAA1B3DD3E}" srcOrd="1" destOrd="0" presId="urn:microsoft.com/office/officeart/2005/8/layout/orgChart1"/>
    <dgm:cxn modelId="{AE0338B0-69A7-4D9A-8069-5630BE22ECAD}" type="presParOf" srcId="{F65159AB-B6AE-4C58-BE85-DB4966F15FBA}" destId="{A5F1F6CB-B812-4FEA-ACD0-E838992C8274}" srcOrd="2" destOrd="0" presId="urn:microsoft.com/office/officeart/2005/8/layout/orgChart1"/>
    <dgm:cxn modelId="{958841D6-2554-4683-A8EC-62B177B61383}" type="presParOf" srcId="{29CE8073-D253-4588-B954-7167D33B1947}" destId="{28E82B1A-B1F2-4CC5-9B64-B60015CBF624}" srcOrd="2" destOrd="0" presId="urn:microsoft.com/office/officeart/2005/8/layout/orgChart1"/>
    <dgm:cxn modelId="{F4A725B4-D70F-48A7-9A84-C82282A2ABD8}" type="presParOf" srcId="{29CE8073-D253-4588-B954-7167D33B1947}" destId="{B22DAA2B-22C5-4EFA-A0A6-9AD0235D2103}" srcOrd="3" destOrd="0" presId="urn:microsoft.com/office/officeart/2005/8/layout/orgChart1"/>
    <dgm:cxn modelId="{F3D410AD-E391-4790-9166-B6E29267A558}" type="presParOf" srcId="{B22DAA2B-22C5-4EFA-A0A6-9AD0235D2103}" destId="{514CA667-AA27-4D37-9311-1D5D85EF643D}" srcOrd="0" destOrd="0" presId="urn:microsoft.com/office/officeart/2005/8/layout/orgChart1"/>
    <dgm:cxn modelId="{DC701199-BAF0-492A-94C1-D33634CB7E75}" type="presParOf" srcId="{514CA667-AA27-4D37-9311-1D5D85EF643D}" destId="{428A54D9-43F6-47B6-B3A2-FDCE09CB5A97}" srcOrd="0" destOrd="0" presId="urn:microsoft.com/office/officeart/2005/8/layout/orgChart1"/>
    <dgm:cxn modelId="{896D1A36-C961-466C-8B07-E247E0C32DE0}" type="presParOf" srcId="{514CA667-AA27-4D37-9311-1D5D85EF643D}" destId="{31DAB6FE-4097-4695-9397-7DCCE262634B}" srcOrd="1" destOrd="0" presId="urn:microsoft.com/office/officeart/2005/8/layout/orgChart1"/>
    <dgm:cxn modelId="{CD97E4D5-F0A3-4435-A7A4-77EB1BE90AC6}" type="presParOf" srcId="{B22DAA2B-22C5-4EFA-A0A6-9AD0235D2103}" destId="{F4CC167B-F2F2-455C-9A45-823F18AFEF9A}" srcOrd="1" destOrd="0" presId="urn:microsoft.com/office/officeart/2005/8/layout/orgChart1"/>
    <dgm:cxn modelId="{D8C8C45A-1B18-4D41-90BF-6929B03BA32E}" type="presParOf" srcId="{B22DAA2B-22C5-4EFA-A0A6-9AD0235D2103}" destId="{A5D0575B-48E0-4A98-88E8-8B4961A6F762}" srcOrd="2" destOrd="0" presId="urn:microsoft.com/office/officeart/2005/8/layout/orgChart1"/>
    <dgm:cxn modelId="{217965BD-DDE1-4CC7-834B-9FAC718B3415}" type="presParOf" srcId="{29CE8073-D253-4588-B954-7167D33B1947}" destId="{11628582-088E-42FA-B6EC-953F652565B0}" srcOrd="4" destOrd="0" presId="urn:microsoft.com/office/officeart/2005/8/layout/orgChart1"/>
    <dgm:cxn modelId="{7379FAF4-B439-4B22-889B-3002E63BF931}" type="presParOf" srcId="{29CE8073-D253-4588-B954-7167D33B1947}" destId="{7E6CA653-D7FD-4B20-AE44-C1F44E30C01B}" srcOrd="5" destOrd="0" presId="urn:microsoft.com/office/officeart/2005/8/layout/orgChart1"/>
    <dgm:cxn modelId="{B8C7F513-0B2D-4E4C-94CA-576AEA1042A5}" type="presParOf" srcId="{7E6CA653-D7FD-4B20-AE44-C1F44E30C01B}" destId="{E179F35A-A640-480A-9C40-3D39813B5DA3}" srcOrd="0" destOrd="0" presId="urn:microsoft.com/office/officeart/2005/8/layout/orgChart1"/>
    <dgm:cxn modelId="{402517C8-3551-4ED3-8E5D-B73B7764D06E}" type="presParOf" srcId="{E179F35A-A640-480A-9C40-3D39813B5DA3}" destId="{93507A0E-B606-4F7A-9C01-283769128FF2}" srcOrd="0" destOrd="0" presId="urn:microsoft.com/office/officeart/2005/8/layout/orgChart1"/>
    <dgm:cxn modelId="{36743B35-3777-4BD3-9E6A-C751A754F33F}" type="presParOf" srcId="{E179F35A-A640-480A-9C40-3D39813B5DA3}" destId="{FA7ED8CE-14CF-4D38-BE63-D19E93618025}" srcOrd="1" destOrd="0" presId="urn:microsoft.com/office/officeart/2005/8/layout/orgChart1"/>
    <dgm:cxn modelId="{AE4A77C0-A5AE-44C8-904A-AE736EB580B6}" type="presParOf" srcId="{7E6CA653-D7FD-4B20-AE44-C1F44E30C01B}" destId="{D06BFE77-47E2-4E99-9240-F26F88BFBEAB}" srcOrd="1" destOrd="0" presId="urn:microsoft.com/office/officeart/2005/8/layout/orgChart1"/>
    <dgm:cxn modelId="{34871BA9-EF2E-4387-ACA8-8048AA11F0EA}" type="presParOf" srcId="{7E6CA653-D7FD-4B20-AE44-C1F44E30C01B}" destId="{801CA00E-B2B0-4EC5-9889-E9E28C332373}" srcOrd="2" destOrd="0" presId="urn:microsoft.com/office/officeart/2005/8/layout/orgChart1"/>
    <dgm:cxn modelId="{C7A9754F-EC52-4E8A-900D-87B5594FFDAB}" type="presParOf" srcId="{29CE8073-D253-4588-B954-7167D33B1947}" destId="{490CA387-8BDE-4005-BE6C-725A759AE03C}" srcOrd="6" destOrd="0" presId="urn:microsoft.com/office/officeart/2005/8/layout/orgChart1"/>
    <dgm:cxn modelId="{5E94E579-70BF-4A1D-9207-8D3216995A2F}" type="presParOf" srcId="{29CE8073-D253-4588-B954-7167D33B1947}" destId="{8EBF3569-414C-444A-82F4-1E2AB8C1CF12}" srcOrd="7" destOrd="0" presId="urn:microsoft.com/office/officeart/2005/8/layout/orgChart1"/>
    <dgm:cxn modelId="{007C89A5-DC54-41BE-B9C1-1C399361FE09}" type="presParOf" srcId="{8EBF3569-414C-444A-82F4-1E2AB8C1CF12}" destId="{0758B0AD-A70D-49C4-B2F5-910D47263F30}" srcOrd="0" destOrd="0" presId="urn:microsoft.com/office/officeart/2005/8/layout/orgChart1"/>
    <dgm:cxn modelId="{CAB1DC79-FAC4-48AC-90F3-CDCA38F45AB8}" type="presParOf" srcId="{0758B0AD-A70D-49C4-B2F5-910D47263F30}" destId="{0B051ACB-AD4B-44A0-B203-A3F060DC178D}" srcOrd="0" destOrd="0" presId="urn:microsoft.com/office/officeart/2005/8/layout/orgChart1"/>
    <dgm:cxn modelId="{82F53540-15D9-4823-9FCC-870273FE7704}" type="presParOf" srcId="{0758B0AD-A70D-49C4-B2F5-910D47263F30}" destId="{467A6B0F-1874-4E90-8E08-3C8CB91FF5C1}" srcOrd="1" destOrd="0" presId="urn:microsoft.com/office/officeart/2005/8/layout/orgChart1"/>
    <dgm:cxn modelId="{6CDA1C95-A116-44DE-B346-676EA8F27E24}" type="presParOf" srcId="{8EBF3569-414C-444A-82F4-1E2AB8C1CF12}" destId="{30128455-4856-4832-905F-9B5029ADCF77}" srcOrd="1" destOrd="0" presId="urn:microsoft.com/office/officeart/2005/8/layout/orgChart1"/>
    <dgm:cxn modelId="{4D5C9F4A-2347-4BA4-A125-3ED96EE5D2F2}" type="presParOf" srcId="{8EBF3569-414C-444A-82F4-1E2AB8C1CF12}" destId="{B907855F-F851-4F88-96F5-8136C893BD47}" srcOrd="2" destOrd="0" presId="urn:microsoft.com/office/officeart/2005/8/layout/orgChart1"/>
    <dgm:cxn modelId="{F229AFD2-2DAC-42E5-941E-3D5ECA89888D}" type="presParOf" srcId="{29CE8073-D253-4588-B954-7167D33B1947}" destId="{F6DF7D20-97CE-45B5-8272-1D8DFBF4322E}" srcOrd="8" destOrd="0" presId="urn:microsoft.com/office/officeart/2005/8/layout/orgChart1"/>
    <dgm:cxn modelId="{D453FC13-1D98-41ED-96D9-2DE78286D5FF}" type="presParOf" srcId="{29CE8073-D253-4588-B954-7167D33B1947}" destId="{33DF2477-EB85-4B7E-BFD1-431DD797052F}" srcOrd="9" destOrd="0" presId="urn:microsoft.com/office/officeart/2005/8/layout/orgChart1"/>
    <dgm:cxn modelId="{DB20D3A7-1B76-4FD6-B401-ABBE331C7D2B}" type="presParOf" srcId="{33DF2477-EB85-4B7E-BFD1-431DD797052F}" destId="{981C2610-43E5-46F5-91D9-212743DD34A5}" srcOrd="0" destOrd="0" presId="urn:microsoft.com/office/officeart/2005/8/layout/orgChart1"/>
    <dgm:cxn modelId="{22A625D6-89B3-413A-8062-CBEFA82CAAA9}" type="presParOf" srcId="{981C2610-43E5-46F5-91D9-212743DD34A5}" destId="{B48C34C0-3268-4BDA-9392-41361EEA60C6}" srcOrd="0" destOrd="0" presId="urn:microsoft.com/office/officeart/2005/8/layout/orgChart1"/>
    <dgm:cxn modelId="{F61E6CE1-FE77-4F40-B12C-CECF061846A7}" type="presParOf" srcId="{981C2610-43E5-46F5-91D9-212743DD34A5}" destId="{F4864036-80FA-4A2E-B84D-CE2A3973B0C9}" srcOrd="1" destOrd="0" presId="urn:microsoft.com/office/officeart/2005/8/layout/orgChart1"/>
    <dgm:cxn modelId="{CF155A6F-F962-4482-8C77-C382964ABD61}" type="presParOf" srcId="{33DF2477-EB85-4B7E-BFD1-431DD797052F}" destId="{7DAFD94E-7849-48EA-9120-080EB3D68BB6}" srcOrd="1" destOrd="0" presId="urn:microsoft.com/office/officeart/2005/8/layout/orgChart1"/>
    <dgm:cxn modelId="{3A62FD6B-30EA-41E0-8F9E-B3BBA065AC0C}" type="presParOf" srcId="{33DF2477-EB85-4B7E-BFD1-431DD797052F}" destId="{5A546465-A07C-44FA-A3D6-3DB7985C1CD2}" srcOrd="2" destOrd="0" presId="urn:microsoft.com/office/officeart/2005/8/layout/orgChart1"/>
    <dgm:cxn modelId="{B00580A0-3E60-48C3-A47D-234A470E3BC6}" type="presParOf" srcId="{35CBA655-D40F-4A2B-B71A-711D392B5A84}" destId="{528156B2-647C-44D5-ABAD-EBDCDF85B348}" srcOrd="2" destOrd="0" presId="urn:microsoft.com/office/officeart/2005/8/layout/orgChart1"/>
    <dgm:cxn modelId="{7E9EE92A-CB2B-45DA-B526-6AC1923250B5}" type="presParOf" srcId="{25A00B3E-FEA8-439F-999E-8DB6BC95DBC0}" destId="{B87F60ED-85BE-4872-BA6E-CDCB9CBDC6A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0211F14-E178-442B-BCC3-FEC11CD32A28}" type="doc">
      <dgm:prSet loTypeId="urn:microsoft.com/office/officeart/2005/8/layout/default" loCatId="list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85BE9E91-0EC3-4EAC-9606-9ED100217B30}">
      <dgm:prSet custT="1"/>
      <dgm:spPr/>
      <dgm:t>
        <a:bodyPr/>
        <a:lstStyle/>
        <a:p>
          <a:pPr rtl="0"/>
          <a:r>
            <a:rPr lang="en-US" sz="2000" dirty="0" smtClean="0"/>
            <a:t>Syntax 	(</a:t>
          </a:r>
          <a:r>
            <a:rPr lang="en-US" sz="1800" dirty="0" err="1" smtClean="0"/>
            <a:t>c</a:t>
          </a:r>
          <a:r>
            <a:rPr lang="en-US" sz="1600" dirty="0" err="1" smtClean="0"/>
            <a:t>ompile+runtime</a:t>
          </a:r>
          <a:r>
            <a:rPr lang="en-US" sz="2000" dirty="0" smtClean="0"/>
            <a:t>)</a:t>
          </a:r>
          <a:endParaRPr lang="en-US" sz="2000" dirty="0"/>
        </a:p>
      </dgm:t>
    </dgm:pt>
    <dgm:pt modelId="{2EA61525-C261-475C-A37A-F6E6F6C5BA9C}" type="parTrans" cxnId="{08C70809-68CF-457C-9733-62144E5D161B}">
      <dgm:prSet/>
      <dgm:spPr/>
      <dgm:t>
        <a:bodyPr/>
        <a:lstStyle/>
        <a:p>
          <a:endParaRPr lang="en-US" sz="2000"/>
        </a:p>
      </dgm:t>
    </dgm:pt>
    <dgm:pt modelId="{A3601AAF-45DE-4F83-97E0-8627F349F0BE}" type="sibTrans" cxnId="{08C70809-68CF-457C-9733-62144E5D161B}">
      <dgm:prSet/>
      <dgm:spPr/>
      <dgm:t>
        <a:bodyPr/>
        <a:lstStyle/>
        <a:p>
          <a:endParaRPr lang="en-US" sz="2000"/>
        </a:p>
      </dgm:t>
    </dgm:pt>
    <dgm:pt modelId="{A427486C-585A-436A-93B1-8E0743ED449F}">
      <dgm:prSet custT="1"/>
      <dgm:spPr/>
      <dgm:t>
        <a:bodyPr/>
        <a:lstStyle/>
        <a:p>
          <a:pPr rtl="0"/>
          <a:r>
            <a:rPr lang="en-US" sz="1400" dirty="0" smtClean="0"/>
            <a:t>Data : B uses the type/format of the data created by A</a:t>
          </a:r>
          <a:endParaRPr lang="en-US" sz="1400" dirty="0"/>
        </a:p>
      </dgm:t>
    </dgm:pt>
    <dgm:pt modelId="{1BB0F51E-376A-404A-BC60-DCA1E17FEFDA}" type="parTrans" cxnId="{1151A087-B2CC-4F41-8CAC-2C6F141D0F9D}">
      <dgm:prSet/>
      <dgm:spPr/>
      <dgm:t>
        <a:bodyPr/>
        <a:lstStyle/>
        <a:p>
          <a:endParaRPr lang="en-US" sz="2000"/>
        </a:p>
      </dgm:t>
    </dgm:pt>
    <dgm:pt modelId="{5707EACF-3F29-4C5A-AEF8-59AA59D42FC9}" type="sibTrans" cxnId="{1151A087-B2CC-4F41-8CAC-2C6F141D0F9D}">
      <dgm:prSet/>
      <dgm:spPr/>
      <dgm:t>
        <a:bodyPr/>
        <a:lstStyle/>
        <a:p>
          <a:endParaRPr lang="en-US" sz="2000"/>
        </a:p>
      </dgm:t>
    </dgm:pt>
    <dgm:pt modelId="{B0FC05E6-873F-46B8-B4E4-A1B19C7506AA}">
      <dgm:prSet custT="1"/>
      <dgm:spPr/>
      <dgm:t>
        <a:bodyPr/>
        <a:lstStyle/>
        <a:p>
          <a:pPr rtl="0"/>
          <a:r>
            <a:rPr lang="en-US" sz="1400" dirty="0" smtClean="0"/>
            <a:t>Service B uses the API signature provided by A</a:t>
          </a:r>
          <a:endParaRPr lang="en-US" sz="1400" dirty="0"/>
        </a:p>
      </dgm:t>
    </dgm:pt>
    <dgm:pt modelId="{9B4F3E2D-6CFA-4CCA-AD8B-271173CA6D5A}" type="parTrans" cxnId="{6D39754A-057B-4D4D-96F1-0F57CE7B34DB}">
      <dgm:prSet/>
      <dgm:spPr/>
      <dgm:t>
        <a:bodyPr/>
        <a:lstStyle/>
        <a:p>
          <a:endParaRPr lang="en-US" sz="2000"/>
        </a:p>
      </dgm:t>
    </dgm:pt>
    <dgm:pt modelId="{62B06DFC-AFF1-4A61-B697-F6DE1B359518}" type="sibTrans" cxnId="{6D39754A-057B-4D4D-96F1-0F57CE7B34DB}">
      <dgm:prSet/>
      <dgm:spPr/>
      <dgm:t>
        <a:bodyPr/>
        <a:lstStyle/>
        <a:p>
          <a:endParaRPr lang="en-US" sz="2000"/>
        </a:p>
      </dgm:t>
    </dgm:pt>
    <dgm:pt modelId="{60089FDD-F75E-42FD-A35B-3FE8B128A865}">
      <dgm:prSet custT="1"/>
      <dgm:spPr/>
      <dgm:t>
        <a:bodyPr/>
        <a:lstStyle/>
        <a:p>
          <a:pPr rtl="0"/>
          <a:r>
            <a:rPr lang="en-US" sz="1400" dirty="0" smtClean="0"/>
            <a:t>Service: Same …..</a:t>
          </a:r>
          <a:endParaRPr lang="en-US" sz="1400" dirty="0"/>
        </a:p>
      </dgm:t>
    </dgm:pt>
    <dgm:pt modelId="{3C930F20-1F24-40D0-8208-73A798762EAE}" type="parTrans" cxnId="{4EEE4433-5454-4691-912D-02FAD320317D}">
      <dgm:prSet/>
      <dgm:spPr/>
      <dgm:t>
        <a:bodyPr/>
        <a:lstStyle/>
        <a:p>
          <a:endParaRPr lang="en-US" sz="2000"/>
        </a:p>
      </dgm:t>
    </dgm:pt>
    <dgm:pt modelId="{5A01A88A-133B-49E0-AE1B-B60AA6DB71A5}" type="sibTrans" cxnId="{4EEE4433-5454-4691-912D-02FAD320317D}">
      <dgm:prSet/>
      <dgm:spPr/>
      <dgm:t>
        <a:bodyPr/>
        <a:lstStyle/>
        <a:p>
          <a:endParaRPr lang="en-US" sz="2000"/>
        </a:p>
      </dgm:t>
    </dgm:pt>
    <dgm:pt modelId="{8BB8A423-0C6D-4AB8-AA91-D8F66FABA071}">
      <dgm:prSet custT="1"/>
      <dgm:spPr/>
      <dgm:t>
        <a:bodyPr/>
        <a:lstStyle/>
        <a:p>
          <a:pPr rtl="0"/>
          <a:r>
            <a:rPr lang="en-US" sz="1800" dirty="0" smtClean="0"/>
            <a:t>Sequence </a:t>
          </a:r>
          <a:endParaRPr lang="en-US" sz="1800" dirty="0"/>
        </a:p>
      </dgm:t>
    </dgm:pt>
    <dgm:pt modelId="{F625E6EE-F19A-47A0-B451-4E4EC9872105}" type="parTrans" cxnId="{FE0047C3-199C-4DB4-A18D-32FE3BBAABD9}">
      <dgm:prSet/>
      <dgm:spPr/>
      <dgm:t>
        <a:bodyPr/>
        <a:lstStyle/>
        <a:p>
          <a:endParaRPr lang="en-US" sz="2000"/>
        </a:p>
      </dgm:t>
    </dgm:pt>
    <dgm:pt modelId="{6D40CAAC-8602-432B-A7CF-631FF345209D}" type="sibTrans" cxnId="{FE0047C3-199C-4DB4-A18D-32FE3BBAABD9}">
      <dgm:prSet/>
      <dgm:spPr/>
      <dgm:t>
        <a:bodyPr/>
        <a:lstStyle/>
        <a:p>
          <a:endParaRPr lang="en-US" sz="2000"/>
        </a:p>
      </dgm:t>
    </dgm:pt>
    <dgm:pt modelId="{2FB7351D-4BB1-4543-A591-9CDAB5F49726}">
      <dgm:prSet custT="1"/>
      <dgm:spPr/>
      <dgm:t>
        <a:bodyPr/>
        <a:lstStyle/>
        <a:p>
          <a:pPr rtl="0"/>
          <a:r>
            <a:rPr lang="en-US" sz="1400" dirty="0" smtClean="0"/>
            <a:t>Data -- data packets created by A should maintain the order as understood by B</a:t>
          </a:r>
          <a:endParaRPr lang="en-US" sz="1400" dirty="0"/>
        </a:p>
      </dgm:t>
    </dgm:pt>
    <dgm:pt modelId="{E58C219C-FEA9-438C-9FC8-7E8333A0D541}" type="parTrans" cxnId="{53701864-A215-4076-A1D8-AD01B71B2F76}">
      <dgm:prSet/>
      <dgm:spPr/>
      <dgm:t>
        <a:bodyPr/>
        <a:lstStyle/>
        <a:p>
          <a:endParaRPr lang="en-US" sz="2000"/>
        </a:p>
      </dgm:t>
    </dgm:pt>
    <dgm:pt modelId="{2F12F367-1017-4367-88BE-ACB936A6B7B2}" type="sibTrans" cxnId="{53701864-A215-4076-A1D8-AD01B71B2F76}">
      <dgm:prSet/>
      <dgm:spPr/>
      <dgm:t>
        <a:bodyPr/>
        <a:lstStyle/>
        <a:p>
          <a:endParaRPr lang="en-US" sz="2000"/>
        </a:p>
      </dgm:t>
    </dgm:pt>
    <dgm:pt modelId="{39B122BE-7D86-453D-B1C9-23EF40085828}">
      <dgm:prSet custT="1"/>
      <dgm:spPr/>
      <dgm:t>
        <a:bodyPr/>
        <a:lstStyle/>
        <a:p>
          <a:pPr rtl="0"/>
          <a:r>
            <a:rPr lang="en-US" sz="1400" dirty="0" smtClean="0"/>
            <a:t>Control– A must execute 5ms before B. Or an API of A can be called only after calling another API</a:t>
          </a:r>
          <a:endParaRPr lang="en-US" sz="1400" dirty="0"/>
        </a:p>
      </dgm:t>
    </dgm:pt>
    <dgm:pt modelId="{B02CFE3B-72B4-4AF3-8A07-B21AEBF2D2DD}" type="parTrans" cxnId="{20B23796-44F4-4857-AC32-AF9CAFB9B66C}">
      <dgm:prSet/>
      <dgm:spPr/>
      <dgm:t>
        <a:bodyPr/>
        <a:lstStyle/>
        <a:p>
          <a:endParaRPr lang="en-US" sz="2000"/>
        </a:p>
      </dgm:t>
    </dgm:pt>
    <dgm:pt modelId="{0C394427-857F-4005-BC13-71DDED040469}" type="sibTrans" cxnId="{20B23796-44F4-4857-AC32-AF9CAFB9B66C}">
      <dgm:prSet/>
      <dgm:spPr/>
      <dgm:t>
        <a:bodyPr/>
        <a:lstStyle/>
        <a:p>
          <a:endParaRPr lang="en-US" sz="2000"/>
        </a:p>
      </dgm:t>
    </dgm:pt>
    <dgm:pt modelId="{CC6AED77-690B-4FA6-9996-D24DC2D85158}">
      <dgm:prSet custT="1"/>
      <dgm:spPr/>
      <dgm:t>
        <a:bodyPr/>
        <a:lstStyle/>
        <a:p>
          <a:pPr rtl="0"/>
          <a:r>
            <a:rPr lang="en-US" sz="1800" dirty="0" smtClean="0"/>
            <a:t>Interface identity</a:t>
          </a:r>
          <a:endParaRPr lang="en-US" sz="1800" dirty="0"/>
        </a:p>
      </dgm:t>
    </dgm:pt>
    <dgm:pt modelId="{CF4E0C89-17E6-4DAB-A142-74A29F6C5A5B}" type="parTrans" cxnId="{B4ECD40F-F63E-4228-91D1-B9AE39F1E858}">
      <dgm:prSet/>
      <dgm:spPr/>
      <dgm:t>
        <a:bodyPr/>
        <a:lstStyle/>
        <a:p>
          <a:endParaRPr lang="en-US" sz="2000"/>
        </a:p>
      </dgm:t>
    </dgm:pt>
    <dgm:pt modelId="{2F03B0F5-516E-4AE6-BF5E-FF5707DFD84A}" type="sibTrans" cxnId="{B4ECD40F-F63E-4228-91D1-B9AE39F1E858}">
      <dgm:prSet/>
      <dgm:spPr/>
      <dgm:t>
        <a:bodyPr/>
        <a:lstStyle/>
        <a:p>
          <a:endParaRPr lang="en-US" sz="2000"/>
        </a:p>
      </dgm:t>
    </dgm:pt>
    <dgm:pt modelId="{7C8A03DE-0540-45D1-9BB4-645694FC4121}">
      <dgm:prSet custT="1"/>
      <dgm:spPr/>
      <dgm:t>
        <a:bodyPr/>
        <a:lstStyle/>
        <a:p>
          <a:pPr rtl="0"/>
          <a:r>
            <a:rPr lang="en-US" sz="1800" dirty="0" smtClean="0"/>
            <a:t>Location of A</a:t>
          </a:r>
          <a:endParaRPr lang="en-US" sz="1800" dirty="0"/>
        </a:p>
      </dgm:t>
    </dgm:pt>
    <dgm:pt modelId="{87AB1263-A300-44FB-B034-2B680FCCF436}" type="parTrans" cxnId="{51564713-CE58-43D7-A639-B4C5E63FEB2D}">
      <dgm:prSet/>
      <dgm:spPr/>
      <dgm:t>
        <a:bodyPr/>
        <a:lstStyle/>
        <a:p>
          <a:endParaRPr lang="en-US" sz="2000"/>
        </a:p>
      </dgm:t>
    </dgm:pt>
    <dgm:pt modelId="{A89AB975-96A8-4FB1-A1CF-F7EFE6AC7377}" type="sibTrans" cxnId="{51564713-CE58-43D7-A639-B4C5E63FEB2D}">
      <dgm:prSet/>
      <dgm:spPr/>
      <dgm:t>
        <a:bodyPr/>
        <a:lstStyle/>
        <a:p>
          <a:endParaRPr lang="en-US" sz="2000"/>
        </a:p>
      </dgm:t>
    </dgm:pt>
    <dgm:pt modelId="{A55FE8C9-580D-4374-AC96-2A0CAC0FD5B7}">
      <dgm:prSet custT="1"/>
      <dgm:spPr/>
      <dgm:t>
        <a:bodyPr/>
        <a:lstStyle/>
        <a:p>
          <a:pPr rtl="0"/>
          <a:r>
            <a:rPr lang="en-US" sz="1800" dirty="0" smtClean="0"/>
            <a:t>Quality of service/data provided by A</a:t>
          </a:r>
          <a:endParaRPr lang="en-US" sz="1800" dirty="0"/>
        </a:p>
      </dgm:t>
    </dgm:pt>
    <dgm:pt modelId="{4B628BFF-C2A2-4471-A51B-028F4A11584F}" type="parTrans" cxnId="{632410CB-0842-4AB8-ADE1-B4AEACDFED8E}">
      <dgm:prSet/>
      <dgm:spPr/>
      <dgm:t>
        <a:bodyPr/>
        <a:lstStyle/>
        <a:p>
          <a:endParaRPr lang="en-US" sz="2000"/>
        </a:p>
      </dgm:t>
    </dgm:pt>
    <dgm:pt modelId="{C631C8E2-1880-4A4E-9AF2-E98EED8EAFD6}" type="sibTrans" cxnId="{632410CB-0842-4AB8-ADE1-B4AEACDFED8E}">
      <dgm:prSet/>
      <dgm:spPr/>
      <dgm:t>
        <a:bodyPr/>
        <a:lstStyle/>
        <a:p>
          <a:endParaRPr lang="en-US" sz="2000"/>
        </a:p>
      </dgm:t>
    </dgm:pt>
    <dgm:pt modelId="{B04CF45A-1980-48B3-967B-20306E49C344}">
      <dgm:prSet custT="1"/>
      <dgm:spPr/>
      <dgm:t>
        <a:bodyPr/>
        <a:lstStyle/>
        <a:p>
          <a:pPr rtl="0"/>
          <a:r>
            <a:rPr lang="en-US" sz="1800" dirty="0" smtClean="0"/>
            <a:t>Existence of A</a:t>
          </a:r>
          <a:endParaRPr lang="en-US" sz="1800" dirty="0"/>
        </a:p>
      </dgm:t>
    </dgm:pt>
    <dgm:pt modelId="{1875E05B-89D8-4AF1-B024-1F6B86A0A4C8}" type="parTrans" cxnId="{11671953-1B24-4AA9-8B6F-3FAA4CB06143}">
      <dgm:prSet/>
      <dgm:spPr/>
      <dgm:t>
        <a:bodyPr/>
        <a:lstStyle/>
        <a:p>
          <a:endParaRPr lang="en-US" sz="2000"/>
        </a:p>
      </dgm:t>
    </dgm:pt>
    <dgm:pt modelId="{423DF419-458D-455E-BC79-AACD5906C884}" type="sibTrans" cxnId="{11671953-1B24-4AA9-8B6F-3FAA4CB06143}">
      <dgm:prSet/>
      <dgm:spPr/>
      <dgm:t>
        <a:bodyPr/>
        <a:lstStyle/>
        <a:p>
          <a:endParaRPr lang="en-US" sz="2000"/>
        </a:p>
      </dgm:t>
    </dgm:pt>
    <dgm:pt modelId="{46BB0B94-BF74-4931-A08B-7D8A486A1556}">
      <dgm:prSet custT="1"/>
      <dgm:spPr/>
      <dgm:t>
        <a:bodyPr/>
        <a:lstStyle/>
        <a:p>
          <a:pPr rtl="0"/>
          <a:r>
            <a:rPr lang="en-US" sz="1800" dirty="0" smtClean="0"/>
            <a:t>Resource behavior of A</a:t>
          </a:r>
          <a:endParaRPr lang="en-US" sz="1800" dirty="0"/>
        </a:p>
      </dgm:t>
    </dgm:pt>
    <dgm:pt modelId="{D376F8CF-34A2-4C30-8F06-8D763E5CE458}" type="parTrans" cxnId="{44DC2BDB-3144-4AA6-81C4-D7598CC17008}">
      <dgm:prSet/>
      <dgm:spPr/>
      <dgm:t>
        <a:bodyPr/>
        <a:lstStyle/>
        <a:p>
          <a:endParaRPr lang="en-US" sz="2000"/>
        </a:p>
      </dgm:t>
    </dgm:pt>
    <dgm:pt modelId="{0A7E3921-4FBC-4267-BDE9-019CDD40E983}" type="sibTrans" cxnId="{44DC2BDB-3144-4AA6-81C4-D7598CC17008}">
      <dgm:prSet/>
      <dgm:spPr/>
      <dgm:t>
        <a:bodyPr/>
        <a:lstStyle/>
        <a:p>
          <a:endParaRPr lang="en-US" sz="2000"/>
        </a:p>
      </dgm:t>
    </dgm:pt>
    <dgm:pt modelId="{8CC78A26-F146-411C-8455-EAC44E4A4C55}">
      <dgm:prSet custT="1"/>
      <dgm:spPr/>
      <dgm:t>
        <a:bodyPr/>
        <a:lstStyle/>
        <a:p>
          <a:pPr rtl="0"/>
          <a:r>
            <a:rPr lang="en-US" sz="1800" smtClean="0"/>
            <a:t>Semantics of A</a:t>
          </a:r>
          <a:endParaRPr lang="en-US" sz="1800" dirty="0"/>
        </a:p>
      </dgm:t>
    </dgm:pt>
    <dgm:pt modelId="{63041B03-FFC8-4C92-BB83-0767B85283D8}" type="parTrans" cxnId="{2F41EACD-DD69-4209-B369-7EC04F1ABF38}">
      <dgm:prSet/>
      <dgm:spPr/>
      <dgm:t>
        <a:bodyPr/>
        <a:lstStyle/>
        <a:p>
          <a:endParaRPr lang="en-US" sz="2000"/>
        </a:p>
      </dgm:t>
    </dgm:pt>
    <dgm:pt modelId="{0A929EB2-79C0-48DF-8637-21420AB35DD1}" type="sibTrans" cxnId="{2F41EACD-DD69-4209-B369-7EC04F1ABF38}">
      <dgm:prSet/>
      <dgm:spPr/>
      <dgm:t>
        <a:bodyPr/>
        <a:lstStyle/>
        <a:p>
          <a:endParaRPr lang="en-US" sz="2000"/>
        </a:p>
      </dgm:t>
    </dgm:pt>
    <dgm:pt modelId="{BD96EA6B-ABEA-4823-BA42-B782266EE231}">
      <dgm:prSet custT="1"/>
      <dgm:spPr/>
      <dgm:t>
        <a:bodyPr/>
        <a:lstStyle/>
        <a:p>
          <a:pPr rtl="0"/>
          <a:r>
            <a:rPr lang="en-US" sz="1400" dirty="0" smtClean="0"/>
            <a:t>Data: Semantics of data created by A should be consistent with the assumption made by B</a:t>
          </a:r>
          <a:endParaRPr lang="en-US" sz="1400" dirty="0"/>
        </a:p>
      </dgm:t>
    </dgm:pt>
    <dgm:pt modelId="{25DCBDCD-15D7-4455-9FA4-85FAB9DCFA17}" type="parTrans" cxnId="{E83DADB9-32AC-4211-8E6A-5E4C0E550A6E}">
      <dgm:prSet/>
      <dgm:spPr/>
      <dgm:t>
        <a:bodyPr/>
        <a:lstStyle/>
        <a:p>
          <a:endParaRPr lang="en-US" sz="2000"/>
        </a:p>
      </dgm:t>
    </dgm:pt>
    <dgm:pt modelId="{7721987D-CF78-4464-8B0E-2774B825BD61}" type="sibTrans" cxnId="{E83DADB9-32AC-4211-8E6A-5E4C0E550A6E}">
      <dgm:prSet/>
      <dgm:spPr/>
      <dgm:t>
        <a:bodyPr/>
        <a:lstStyle/>
        <a:p>
          <a:endParaRPr lang="en-US" sz="2000"/>
        </a:p>
      </dgm:t>
    </dgm:pt>
    <dgm:pt modelId="{F3955470-C756-4BF5-8297-55BB7979B8C9}">
      <dgm:prSet custT="1"/>
      <dgm:spPr/>
      <dgm:t>
        <a:bodyPr/>
        <a:lstStyle/>
        <a:p>
          <a:pPr rtl="0"/>
          <a:r>
            <a:rPr lang="en-US" sz="1400" dirty="0" smtClean="0"/>
            <a:t>Handle of A must be consistent with B, if A maintains multiple interfaces</a:t>
          </a:r>
          <a:endParaRPr lang="en-US" sz="1400" dirty="0"/>
        </a:p>
      </dgm:t>
    </dgm:pt>
    <dgm:pt modelId="{F1E2187E-4035-4508-83B1-9382CF8F5BD9}" type="parTrans" cxnId="{CA455B9A-D6F8-45D2-B655-716BF95F6622}">
      <dgm:prSet/>
      <dgm:spPr/>
      <dgm:t>
        <a:bodyPr/>
        <a:lstStyle/>
        <a:p>
          <a:endParaRPr lang="en-US" sz="2000"/>
        </a:p>
      </dgm:t>
    </dgm:pt>
    <dgm:pt modelId="{FE3BB8FA-3C87-4A40-B520-FA9D436A99D5}" type="sibTrans" cxnId="{CA455B9A-D6F8-45D2-B655-716BF95F6622}">
      <dgm:prSet/>
      <dgm:spPr/>
      <dgm:t>
        <a:bodyPr/>
        <a:lstStyle/>
        <a:p>
          <a:endParaRPr lang="en-US" sz="2000"/>
        </a:p>
      </dgm:t>
    </dgm:pt>
    <dgm:pt modelId="{35644AB3-A600-4A79-9DE1-F7B0E9C98D63}">
      <dgm:prSet custT="1"/>
      <dgm:spPr/>
      <dgm:t>
        <a:bodyPr/>
        <a:lstStyle/>
        <a:p>
          <a:pPr rtl="0"/>
          <a:r>
            <a:rPr lang="en-US" sz="1400" dirty="0" smtClean="0"/>
            <a:t>B may assume that A is in-process or in a different process, hardware..</a:t>
          </a:r>
          <a:endParaRPr lang="en-US" sz="1400" dirty="0"/>
        </a:p>
      </dgm:t>
    </dgm:pt>
    <dgm:pt modelId="{57E2CA9A-68D6-45A0-8A24-68F620D0A83B}" type="parTrans" cxnId="{C33C60B5-5162-425F-B48B-558CFB00D125}">
      <dgm:prSet/>
      <dgm:spPr/>
      <dgm:t>
        <a:bodyPr/>
        <a:lstStyle/>
        <a:p>
          <a:endParaRPr lang="en-US" sz="2000"/>
        </a:p>
      </dgm:t>
    </dgm:pt>
    <dgm:pt modelId="{56116DBC-D513-4422-88D5-5D71C1A9472B}" type="sibTrans" cxnId="{C33C60B5-5162-425F-B48B-558CFB00D125}">
      <dgm:prSet/>
      <dgm:spPr/>
      <dgm:t>
        <a:bodyPr/>
        <a:lstStyle/>
        <a:p>
          <a:endParaRPr lang="en-US" sz="2000"/>
        </a:p>
      </dgm:t>
    </dgm:pt>
    <dgm:pt modelId="{0F2D28AA-2F6C-4F3D-A67E-D90D2DBFA747}">
      <dgm:prSet custT="1"/>
      <dgm:spPr/>
      <dgm:t>
        <a:bodyPr/>
        <a:lstStyle/>
        <a:p>
          <a:pPr rtl="0"/>
          <a:r>
            <a:rPr lang="en-US" sz="1400" dirty="0" smtClean="0"/>
            <a:t>Data quality produced by A must be &gt; some accuracy for B to work</a:t>
          </a:r>
          <a:endParaRPr lang="en-US" sz="1400" dirty="0"/>
        </a:p>
      </dgm:t>
    </dgm:pt>
    <dgm:pt modelId="{1341A02B-CB94-4FA4-8437-C87B1AA0ECE8}" type="parTrans" cxnId="{D77D9695-E8A9-44C0-8327-B2DFF506F26F}">
      <dgm:prSet/>
      <dgm:spPr/>
      <dgm:t>
        <a:bodyPr/>
        <a:lstStyle/>
        <a:p>
          <a:endParaRPr lang="en-US" sz="2000"/>
        </a:p>
      </dgm:t>
    </dgm:pt>
    <dgm:pt modelId="{AA411A85-38A8-4A49-8544-64570FFBB8B3}" type="sibTrans" cxnId="{D77D9695-E8A9-44C0-8327-B2DFF506F26F}">
      <dgm:prSet/>
      <dgm:spPr/>
      <dgm:t>
        <a:bodyPr/>
        <a:lstStyle/>
        <a:p>
          <a:endParaRPr lang="en-US" sz="2000"/>
        </a:p>
      </dgm:t>
    </dgm:pt>
    <dgm:pt modelId="{AAA4DA81-CE5F-44EB-B63F-90AE06819960}">
      <dgm:prSet custT="1"/>
      <dgm:spPr/>
      <dgm:t>
        <a:bodyPr/>
        <a:lstStyle/>
        <a:p>
          <a:pPr rtl="0"/>
          <a:r>
            <a:rPr lang="en-US" sz="1400" dirty="0" smtClean="0"/>
            <a:t>B may assume that A must exist when B is calling A</a:t>
          </a:r>
          <a:endParaRPr lang="en-US" sz="1400" dirty="0"/>
        </a:p>
      </dgm:t>
    </dgm:pt>
    <dgm:pt modelId="{DF22A7C4-B122-40E4-AA42-87E7E49B1F54}" type="parTrans" cxnId="{B2E0AAE7-4FE3-47CD-B9DF-48C3E34EC90D}">
      <dgm:prSet/>
      <dgm:spPr/>
      <dgm:t>
        <a:bodyPr/>
        <a:lstStyle/>
        <a:p>
          <a:endParaRPr lang="en-US" sz="2000"/>
        </a:p>
      </dgm:t>
    </dgm:pt>
    <dgm:pt modelId="{17C5392C-9FE9-4C91-BA8A-ED69862FCBE2}" type="sibTrans" cxnId="{B2E0AAE7-4FE3-47CD-B9DF-48C3E34EC90D}">
      <dgm:prSet/>
      <dgm:spPr/>
      <dgm:t>
        <a:bodyPr/>
        <a:lstStyle/>
        <a:p>
          <a:endParaRPr lang="en-US" sz="2000"/>
        </a:p>
      </dgm:t>
    </dgm:pt>
    <dgm:pt modelId="{CFED5667-BABE-45C0-B9A9-6F5E25A9D1E8}">
      <dgm:prSet custT="1"/>
      <dgm:spPr/>
      <dgm:t>
        <a:bodyPr/>
        <a:lstStyle/>
        <a:p>
          <a:pPr rtl="0"/>
          <a:r>
            <a:rPr lang="en-US" sz="1400" dirty="0" smtClean="0"/>
            <a:t>B may assume that both use same memory</a:t>
          </a:r>
          <a:endParaRPr lang="en-US" sz="1400" dirty="0"/>
        </a:p>
      </dgm:t>
    </dgm:pt>
    <dgm:pt modelId="{E6BEBDF0-BD50-43B0-93FF-4E324FC9C0A0}" type="parTrans" cxnId="{DFDF7CDC-C7E8-40CD-AB26-F41E69EC9D55}">
      <dgm:prSet/>
      <dgm:spPr/>
      <dgm:t>
        <a:bodyPr/>
        <a:lstStyle/>
        <a:p>
          <a:endParaRPr lang="en-US" sz="2000"/>
        </a:p>
      </dgm:t>
    </dgm:pt>
    <dgm:pt modelId="{693D4A26-DABA-400C-B52A-053A7A12207A}" type="sibTrans" cxnId="{DFDF7CDC-C7E8-40CD-AB26-F41E69EC9D55}">
      <dgm:prSet/>
      <dgm:spPr/>
      <dgm:t>
        <a:bodyPr/>
        <a:lstStyle/>
        <a:p>
          <a:endParaRPr lang="en-US" sz="2000"/>
        </a:p>
      </dgm:t>
    </dgm:pt>
    <dgm:pt modelId="{BFBDA03E-CE26-4193-8676-BB85849C2609}">
      <dgm:prSet custT="1"/>
      <dgm:spPr/>
      <dgm:t>
        <a:bodyPr/>
        <a:lstStyle/>
        <a:p>
          <a:pPr rtl="0"/>
          <a:r>
            <a:rPr lang="en-US" sz="1400" dirty="0" smtClean="0"/>
            <a:t>B needs to reserve a resource owned by A</a:t>
          </a:r>
          <a:endParaRPr lang="en-US" sz="1400" dirty="0"/>
        </a:p>
      </dgm:t>
    </dgm:pt>
    <dgm:pt modelId="{2F216C4E-CC0E-4E52-9FED-885CC3E2EECF}" type="parTrans" cxnId="{36DC0F46-C903-4834-920E-F1B1496B3693}">
      <dgm:prSet/>
      <dgm:spPr/>
      <dgm:t>
        <a:bodyPr/>
        <a:lstStyle/>
        <a:p>
          <a:endParaRPr lang="en-US" sz="2000"/>
        </a:p>
      </dgm:t>
    </dgm:pt>
    <dgm:pt modelId="{6E76AF3B-DD5B-4798-9D59-8D5796B30B83}" type="sibTrans" cxnId="{36DC0F46-C903-4834-920E-F1B1496B3693}">
      <dgm:prSet/>
      <dgm:spPr/>
      <dgm:t>
        <a:bodyPr/>
        <a:lstStyle/>
        <a:p>
          <a:endParaRPr lang="en-US" sz="2000"/>
        </a:p>
      </dgm:t>
    </dgm:pt>
    <dgm:pt modelId="{C4D0D06F-C05B-431D-816B-964F4DEFD25E}" type="pres">
      <dgm:prSet presAssocID="{B0211F14-E178-442B-BCC3-FEC11CD32A28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92C60C7-940A-48E4-92CA-5C333A951829}" type="pres">
      <dgm:prSet presAssocID="{85BE9E91-0EC3-4EAC-9606-9ED100217B30}" presName="node" presStyleLbl="node1" presStyleIdx="0" presStyleCnt="8" custScaleX="11257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5173F66-24C1-4A2C-B219-2622FD39BBB7}" type="pres">
      <dgm:prSet presAssocID="{A3601AAF-45DE-4F83-97E0-8627F349F0BE}" presName="sibTrans" presStyleCnt="0"/>
      <dgm:spPr/>
    </dgm:pt>
    <dgm:pt modelId="{99AB3E69-CF6C-4396-BD14-6DA843B09678}" type="pres">
      <dgm:prSet presAssocID="{8CC78A26-F146-411C-8455-EAC44E4A4C55}" presName="node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01512A-CF4B-4AC9-B9F8-AE43D72B6ED8}" type="pres">
      <dgm:prSet presAssocID="{0A929EB2-79C0-48DF-8637-21420AB35DD1}" presName="sibTrans" presStyleCnt="0"/>
      <dgm:spPr/>
    </dgm:pt>
    <dgm:pt modelId="{99EBB280-35FF-4985-AD72-142BC51A1744}" type="pres">
      <dgm:prSet presAssocID="{8BB8A423-0C6D-4AB8-AA91-D8F66FABA071}" presName="node" presStyleLbl="node1" presStyleIdx="2" presStyleCnt="8" custScaleY="1416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0D775C-8C05-4B58-9FC8-C3741A60873C}" type="pres">
      <dgm:prSet presAssocID="{6D40CAAC-8602-432B-A7CF-631FF345209D}" presName="sibTrans" presStyleCnt="0"/>
      <dgm:spPr/>
    </dgm:pt>
    <dgm:pt modelId="{159C08CA-105A-4CCF-8DFA-D0C117662B5A}" type="pres">
      <dgm:prSet presAssocID="{CC6AED77-690B-4FA6-9996-D24DC2D85158}" presName="node" presStyleLbl="node1" presStyleIdx="3" presStyleCnt="8" custScaleY="90909" custLinFactNeighborY="145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DAB2C13-8D46-473B-AD0C-0FF6DBEAACE5}" type="pres">
      <dgm:prSet presAssocID="{2F03B0F5-516E-4AE6-BF5E-FF5707DFD84A}" presName="sibTrans" presStyleCnt="0"/>
      <dgm:spPr/>
    </dgm:pt>
    <dgm:pt modelId="{D3A09A55-1C4A-4698-B95B-22A3FF4F8308}" type="pres">
      <dgm:prSet presAssocID="{7C8A03DE-0540-45D1-9BB4-645694FC4121}" presName="node" presStyleLbl="node1" presStyleIdx="4" presStyleCnt="8" custScaleY="90909" custLinFactNeighborY="145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8235AC-1210-45F5-839E-2761144B1591}" type="pres">
      <dgm:prSet presAssocID="{A89AB975-96A8-4FB1-A1CF-F7EFE6AC7377}" presName="sibTrans" presStyleCnt="0"/>
      <dgm:spPr/>
    </dgm:pt>
    <dgm:pt modelId="{1D283551-182D-4F32-BB67-81DDEEF65A1D}" type="pres">
      <dgm:prSet presAssocID="{A55FE8C9-580D-4374-AC96-2A0CAC0FD5B7}" presName="node" presStyleLbl="node1" presStyleIdx="5" presStyleCnt="8" custScaleY="90909" custLinFactNeighborY="145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C1BAF3-4689-49B8-AB6A-07438A5113F9}" type="pres">
      <dgm:prSet presAssocID="{C631C8E2-1880-4A4E-9AF2-E98EED8EAFD6}" presName="sibTrans" presStyleCnt="0"/>
      <dgm:spPr/>
    </dgm:pt>
    <dgm:pt modelId="{79B99989-1AB0-4F83-A1C8-B47D978DA6B7}" type="pres">
      <dgm:prSet presAssocID="{B04CF45A-1980-48B3-967B-20306E49C344}" presName="node" presStyleLbl="node1" presStyleIdx="6" presStyleCnt="8" custScaleY="90909" custLinFactNeighborY="78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ECD4D68-554D-4CD3-B584-B43A1C6ECE1A}" type="pres">
      <dgm:prSet presAssocID="{423DF419-458D-455E-BC79-AACD5906C884}" presName="sibTrans" presStyleCnt="0"/>
      <dgm:spPr/>
    </dgm:pt>
    <dgm:pt modelId="{5C919D79-4EE6-48D8-A3B5-96B95D5F1B4A}" type="pres">
      <dgm:prSet presAssocID="{46BB0B94-BF74-4931-A08B-7D8A486A1556}" presName="node" presStyleLbl="node1" presStyleIdx="7" presStyleCnt="8" custScaleY="90909" custLinFactNeighborY="78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69C4B3F-E6AA-4530-8C0C-3FCF9B23A5C3}" type="presOf" srcId="{B04CF45A-1980-48B3-967B-20306E49C344}" destId="{79B99989-1AB0-4F83-A1C8-B47D978DA6B7}" srcOrd="0" destOrd="0" presId="urn:microsoft.com/office/officeart/2005/8/layout/default"/>
    <dgm:cxn modelId="{DA7CD3D2-06A5-4622-ACF3-26D7588781EB}" type="presOf" srcId="{8CC78A26-F146-411C-8455-EAC44E4A4C55}" destId="{99AB3E69-CF6C-4396-BD14-6DA843B09678}" srcOrd="0" destOrd="0" presId="urn:microsoft.com/office/officeart/2005/8/layout/default"/>
    <dgm:cxn modelId="{51564713-CE58-43D7-A639-B4C5E63FEB2D}" srcId="{B0211F14-E178-442B-BCC3-FEC11CD32A28}" destId="{7C8A03DE-0540-45D1-9BB4-645694FC4121}" srcOrd="4" destOrd="0" parTransId="{87AB1263-A300-44FB-B034-2B680FCCF436}" sibTransId="{A89AB975-96A8-4FB1-A1CF-F7EFE6AC7377}"/>
    <dgm:cxn modelId="{B2E0AAE7-4FE3-47CD-B9DF-48C3E34EC90D}" srcId="{B04CF45A-1980-48B3-967B-20306E49C344}" destId="{AAA4DA81-CE5F-44EB-B63F-90AE06819960}" srcOrd="0" destOrd="0" parTransId="{DF22A7C4-B122-40E4-AA42-87E7E49B1F54}" sibTransId="{17C5392C-9FE9-4C91-BA8A-ED69862FCBE2}"/>
    <dgm:cxn modelId="{20B23796-44F4-4857-AC32-AF9CAFB9B66C}" srcId="{8BB8A423-0C6D-4AB8-AA91-D8F66FABA071}" destId="{39B122BE-7D86-453D-B1C9-23EF40085828}" srcOrd="1" destOrd="0" parTransId="{B02CFE3B-72B4-4AF3-8A07-B21AEBF2D2DD}" sibTransId="{0C394427-857F-4005-BC13-71DDED040469}"/>
    <dgm:cxn modelId="{1151A087-B2CC-4F41-8CAC-2C6F141D0F9D}" srcId="{85BE9E91-0EC3-4EAC-9606-9ED100217B30}" destId="{A427486C-585A-436A-93B1-8E0743ED449F}" srcOrd="0" destOrd="0" parTransId="{1BB0F51E-376A-404A-BC60-DCA1E17FEFDA}" sibTransId="{5707EACF-3F29-4C5A-AEF8-59AA59D42FC9}"/>
    <dgm:cxn modelId="{A5075718-D1B2-41F3-85E8-21E02B12F109}" type="presOf" srcId="{39B122BE-7D86-453D-B1C9-23EF40085828}" destId="{99EBB280-35FF-4985-AD72-142BC51A1744}" srcOrd="0" destOrd="2" presId="urn:microsoft.com/office/officeart/2005/8/layout/default"/>
    <dgm:cxn modelId="{EA2E66E6-1427-4FB0-A825-54B6B2C54E6F}" type="presOf" srcId="{B0FC05E6-873F-46B8-B4E4-A1B19C7506AA}" destId="{492C60C7-940A-48E4-92CA-5C333A951829}" srcOrd="0" destOrd="2" presId="urn:microsoft.com/office/officeart/2005/8/layout/default"/>
    <dgm:cxn modelId="{8D6F5B53-8E3E-4962-A442-95DEDCCE0284}" type="presOf" srcId="{2FB7351D-4BB1-4543-A591-9CDAB5F49726}" destId="{99EBB280-35FF-4985-AD72-142BC51A1744}" srcOrd="0" destOrd="1" presId="urn:microsoft.com/office/officeart/2005/8/layout/default"/>
    <dgm:cxn modelId="{CA455B9A-D6F8-45D2-B655-716BF95F6622}" srcId="{CC6AED77-690B-4FA6-9996-D24DC2D85158}" destId="{F3955470-C756-4BF5-8297-55BB7979B8C9}" srcOrd="0" destOrd="0" parTransId="{F1E2187E-4035-4508-83B1-9382CF8F5BD9}" sibTransId="{FE3BB8FA-3C87-4A40-B520-FA9D436A99D5}"/>
    <dgm:cxn modelId="{2545EF18-37A1-4283-AE68-873980679BE2}" type="presOf" srcId="{CC6AED77-690B-4FA6-9996-D24DC2D85158}" destId="{159C08CA-105A-4CCF-8DFA-D0C117662B5A}" srcOrd="0" destOrd="0" presId="urn:microsoft.com/office/officeart/2005/8/layout/default"/>
    <dgm:cxn modelId="{FE0047C3-199C-4DB4-A18D-32FE3BBAABD9}" srcId="{B0211F14-E178-442B-BCC3-FEC11CD32A28}" destId="{8BB8A423-0C6D-4AB8-AA91-D8F66FABA071}" srcOrd="2" destOrd="0" parTransId="{F625E6EE-F19A-47A0-B451-4E4EC9872105}" sibTransId="{6D40CAAC-8602-432B-A7CF-631FF345209D}"/>
    <dgm:cxn modelId="{4AD58FE3-871F-454F-B8C0-C99444CD0722}" type="presOf" srcId="{F3955470-C756-4BF5-8297-55BB7979B8C9}" destId="{159C08CA-105A-4CCF-8DFA-D0C117662B5A}" srcOrd="0" destOrd="1" presId="urn:microsoft.com/office/officeart/2005/8/layout/default"/>
    <dgm:cxn modelId="{73075499-2533-43F7-BDA6-06824C5A14E6}" type="presOf" srcId="{AAA4DA81-CE5F-44EB-B63F-90AE06819960}" destId="{79B99989-1AB0-4F83-A1C8-B47D978DA6B7}" srcOrd="0" destOrd="1" presId="urn:microsoft.com/office/officeart/2005/8/layout/default"/>
    <dgm:cxn modelId="{B5964135-2E8C-4106-9D7F-7A25426E9400}" type="presOf" srcId="{85BE9E91-0EC3-4EAC-9606-9ED100217B30}" destId="{492C60C7-940A-48E4-92CA-5C333A951829}" srcOrd="0" destOrd="0" presId="urn:microsoft.com/office/officeart/2005/8/layout/default"/>
    <dgm:cxn modelId="{9FC955AE-1EDF-41E3-BCDA-E1D8C314B781}" type="presOf" srcId="{0F2D28AA-2F6C-4F3D-A67E-D90D2DBFA747}" destId="{1D283551-182D-4F32-BB67-81DDEEF65A1D}" srcOrd="0" destOrd="1" presId="urn:microsoft.com/office/officeart/2005/8/layout/default"/>
    <dgm:cxn modelId="{6D39754A-057B-4D4D-96F1-0F57CE7B34DB}" srcId="{85BE9E91-0EC3-4EAC-9606-9ED100217B30}" destId="{B0FC05E6-873F-46B8-B4E4-A1B19C7506AA}" srcOrd="1" destOrd="0" parTransId="{9B4F3E2D-6CFA-4CCA-AD8B-271173CA6D5A}" sibTransId="{62B06DFC-AFF1-4A61-B697-F6DE1B359518}"/>
    <dgm:cxn modelId="{C431DF97-EB7E-4388-AEFE-5BE08886AD65}" type="presOf" srcId="{B0211F14-E178-442B-BCC3-FEC11CD32A28}" destId="{C4D0D06F-C05B-431D-816B-964F4DEFD25E}" srcOrd="0" destOrd="0" presId="urn:microsoft.com/office/officeart/2005/8/layout/default"/>
    <dgm:cxn modelId="{5DB6CFEF-D108-480E-9B6B-9BD77F8AABB3}" type="presOf" srcId="{A55FE8C9-580D-4374-AC96-2A0CAC0FD5B7}" destId="{1D283551-182D-4F32-BB67-81DDEEF65A1D}" srcOrd="0" destOrd="0" presId="urn:microsoft.com/office/officeart/2005/8/layout/default"/>
    <dgm:cxn modelId="{8E0CA0D9-8DCC-472C-A8EB-1AB83FE3DE85}" type="presOf" srcId="{BD96EA6B-ABEA-4823-BA42-B782266EE231}" destId="{99AB3E69-CF6C-4396-BD14-6DA843B09678}" srcOrd="0" destOrd="1" presId="urn:microsoft.com/office/officeart/2005/8/layout/default"/>
    <dgm:cxn modelId="{53701864-A215-4076-A1D8-AD01B71B2F76}" srcId="{8BB8A423-0C6D-4AB8-AA91-D8F66FABA071}" destId="{2FB7351D-4BB1-4543-A591-9CDAB5F49726}" srcOrd="0" destOrd="0" parTransId="{E58C219C-FEA9-438C-9FC8-7E8333A0D541}" sibTransId="{2F12F367-1017-4367-88BE-ACB936A6B7B2}"/>
    <dgm:cxn modelId="{E83DADB9-32AC-4211-8E6A-5E4C0E550A6E}" srcId="{8CC78A26-F146-411C-8455-EAC44E4A4C55}" destId="{BD96EA6B-ABEA-4823-BA42-B782266EE231}" srcOrd="0" destOrd="0" parTransId="{25DCBDCD-15D7-4455-9FA4-85FAB9DCFA17}" sibTransId="{7721987D-CF78-4464-8B0E-2774B825BD61}"/>
    <dgm:cxn modelId="{36DC0F46-C903-4834-920E-F1B1496B3693}" srcId="{46BB0B94-BF74-4931-A08B-7D8A486A1556}" destId="{BFBDA03E-CE26-4193-8676-BB85849C2609}" srcOrd="1" destOrd="0" parTransId="{2F216C4E-CC0E-4E52-9FED-885CC3E2EECF}" sibTransId="{6E76AF3B-DD5B-4798-9D59-8D5796B30B83}"/>
    <dgm:cxn modelId="{C33C60B5-5162-425F-B48B-558CFB00D125}" srcId="{7C8A03DE-0540-45D1-9BB4-645694FC4121}" destId="{35644AB3-A600-4A79-9DE1-F7B0E9C98D63}" srcOrd="0" destOrd="0" parTransId="{57E2CA9A-68D6-45A0-8A24-68F620D0A83B}" sibTransId="{56116DBC-D513-4422-88D5-5D71C1A9472B}"/>
    <dgm:cxn modelId="{11671953-1B24-4AA9-8B6F-3FAA4CB06143}" srcId="{B0211F14-E178-442B-BCC3-FEC11CD32A28}" destId="{B04CF45A-1980-48B3-967B-20306E49C344}" srcOrd="6" destOrd="0" parTransId="{1875E05B-89D8-4AF1-B024-1F6B86A0A4C8}" sibTransId="{423DF419-458D-455E-BC79-AACD5906C884}"/>
    <dgm:cxn modelId="{0874B87A-42B7-44FF-B58F-8DE71A6A46B6}" type="presOf" srcId="{CFED5667-BABE-45C0-B9A9-6F5E25A9D1E8}" destId="{5C919D79-4EE6-48D8-A3B5-96B95D5F1B4A}" srcOrd="0" destOrd="1" presId="urn:microsoft.com/office/officeart/2005/8/layout/default"/>
    <dgm:cxn modelId="{B4ECD40F-F63E-4228-91D1-B9AE39F1E858}" srcId="{B0211F14-E178-442B-BCC3-FEC11CD32A28}" destId="{CC6AED77-690B-4FA6-9996-D24DC2D85158}" srcOrd="3" destOrd="0" parTransId="{CF4E0C89-17E6-4DAB-A142-74A29F6C5A5B}" sibTransId="{2F03B0F5-516E-4AE6-BF5E-FF5707DFD84A}"/>
    <dgm:cxn modelId="{49EA2651-D497-427B-9C2A-51F48421FB9F}" type="presOf" srcId="{35644AB3-A600-4A79-9DE1-F7B0E9C98D63}" destId="{D3A09A55-1C4A-4698-B95B-22A3FF4F8308}" srcOrd="0" destOrd="1" presId="urn:microsoft.com/office/officeart/2005/8/layout/default"/>
    <dgm:cxn modelId="{4EEE4433-5454-4691-912D-02FAD320317D}" srcId="{8CC78A26-F146-411C-8455-EAC44E4A4C55}" destId="{60089FDD-F75E-42FD-A35B-3FE8B128A865}" srcOrd="1" destOrd="0" parTransId="{3C930F20-1F24-40D0-8208-73A798762EAE}" sibTransId="{5A01A88A-133B-49E0-AE1B-B60AA6DB71A5}"/>
    <dgm:cxn modelId="{6B92C771-7CAF-4E86-97D4-E16541F70D1A}" type="presOf" srcId="{7C8A03DE-0540-45D1-9BB4-645694FC4121}" destId="{D3A09A55-1C4A-4698-B95B-22A3FF4F8308}" srcOrd="0" destOrd="0" presId="urn:microsoft.com/office/officeart/2005/8/layout/default"/>
    <dgm:cxn modelId="{2F41EACD-DD69-4209-B369-7EC04F1ABF38}" srcId="{B0211F14-E178-442B-BCC3-FEC11CD32A28}" destId="{8CC78A26-F146-411C-8455-EAC44E4A4C55}" srcOrd="1" destOrd="0" parTransId="{63041B03-FFC8-4C92-BB83-0767B85283D8}" sibTransId="{0A929EB2-79C0-48DF-8637-21420AB35DD1}"/>
    <dgm:cxn modelId="{2EF63BD8-1EA1-425D-8550-78FAD956ABF3}" type="presOf" srcId="{46BB0B94-BF74-4931-A08B-7D8A486A1556}" destId="{5C919D79-4EE6-48D8-A3B5-96B95D5F1B4A}" srcOrd="0" destOrd="0" presId="urn:microsoft.com/office/officeart/2005/8/layout/default"/>
    <dgm:cxn modelId="{DFDF7CDC-C7E8-40CD-AB26-F41E69EC9D55}" srcId="{46BB0B94-BF74-4931-A08B-7D8A486A1556}" destId="{CFED5667-BABE-45C0-B9A9-6F5E25A9D1E8}" srcOrd="0" destOrd="0" parTransId="{E6BEBDF0-BD50-43B0-93FF-4E324FC9C0A0}" sibTransId="{693D4A26-DABA-400C-B52A-053A7A12207A}"/>
    <dgm:cxn modelId="{63469153-E50E-416B-A79B-D6E273107927}" type="presOf" srcId="{BFBDA03E-CE26-4193-8676-BB85849C2609}" destId="{5C919D79-4EE6-48D8-A3B5-96B95D5F1B4A}" srcOrd="0" destOrd="2" presId="urn:microsoft.com/office/officeart/2005/8/layout/default"/>
    <dgm:cxn modelId="{109E9773-36B7-4500-BA1F-75138739F298}" type="presOf" srcId="{8BB8A423-0C6D-4AB8-AA91-D8F66FABA071}" destId="{99EBB280-35FF-4985-AD72-142BC51A1744}" srcOrd="0" destOrd="0" presId="urn:microsoft.com/office/officeart/2005/8/layout/default"/>
    <dgm:cxn modelId="{77810360-DA3A-49A4-83C2-2E45749CF443}" type="presOf" srcId="{A427486C-585A-436A-93B1-8E0743ED449F}" destId="{492C60C7-940A-48E4-92CA-5C333A951829}" srcOrd="0" destOrd="1" presId="urn:microsoft.com/office/officeart/2005/8/layout/default"/>
    <dgm:cxn modelId="{D77D9695-E8A9-44C0-8327-B2DFF506F26F}" srcId="{A55FE8C9-580D-4374-AC96-2A0CAC0FD5B7}" destId="{0F2D28AA-2F6C-4F3D-A67E-D90D2DBFA747}" srcOrd="0" destOrd="0" parTransId="{1341A02B-CB94-4FA4-8437-C87B1AA0ECE8}" sibTransId="{AA411A85-38A8-4A49-8544-64570FFBB8B3}"/>
    <dgm:cxn modelId="{08C70809-68CF-457C-9733-62144E5D161B}" srcId="{B0211F14-E178-442B-BCC3-FEC11CD32A28}" destId="{85BE9E91-0EC3-4EAC-9606-9ED100217B30}" srcOrd="0" destOrd="0" parTransId="{2EA61525-C261-475C-A37A-F6E6F6C5BA9C}" sibTransId="{A3601AAF-45DE-4F83-97E0-8627F349F0BE}"/>
    <dgm:cxn modelId="{D87BCC34-FF8E-405A-B819-847C4BA134B7}" type="presOf" srcId="{60089FDD-F75E-42FD-A35B-3FE8B128A865}" destId="{99AB3E69-CF6C-4396-BD14-6DA843B09678}" srcOrd="0" destOrd="2" presId="urn:microsoft.com/office/officeart/2005/8/layout/default"/>
    <dgm:cxn modelId="{632410CB-0842-4AB8-ADE1-B4AEACDFED8E}" srcId="{B0211F14-E178-442B-BCC3-FEC11CD32A28}" destId="{A55FE8C9-580D-4374-AC96-2A0CAC0FD5B7}" srcOrd="5" destOrd="0" parTransId="{4B628BFF-C2A2-4471-A51B-028F4A11584F}" sibTransId="{C631C8E2-1880-4A4E-9AF2-E98EED8EAFD6}"/>
    <dgm:cxn modelId="{44DC2BDB-3144-4AA6-81C4-D7598CC17008}" srcId="{B0211F14-E178-442B-BCC3-FEC11CD32A28}" destId="{46BB0B94-BF74-4931-A08B-7D8A486A1556}" srcOrd="7" destOrd="0" parTransId="{D376F8CF-34A2-4C30-8F06-8D763E5CE458}" sibTransId="{0A7E3921-4FBC-4267-BDE9-019CDD40E983}"/>
    <dgm:cxn modelId="{6F2E6A62-CEB4-47A7-8CFF-3D6EDCC214AF}" type="presParOf" srcId="{C4D0D06F-C05B-431D-816B-964F4DEFD25E}" destId="{492C60C7-940A-48E4-92CA-5C333A951829}" srcOrd="0" destOrd="0" presId="urn:microsoft.com/office/officeart/2005/8/layout/default"/>
    <dgm:cxn modelId="{A4262264-B1B7-4E61-A164-B533918A261E}" type="presParOf" srcId="{C4D0D06F-C05B-431D-816B-964F4DEFD25E}" destId="{75173F66-24C1-4A2C-B219-2622FD39BBB7}" srcOrd="1" destOrd="0" presId="urn:microsoft.com/office/officeart/2005/8/layout/default"/>
    <dgm:cxn modelId="{92D71E03-9D40-492C-814B-FCB183F769BA}" type="presParOf" srcId="{C4D0D06F-C05B-431D-816B-964F4DEFD25E}" destId="{99AB3E69-CF6C-4396-BD14-6DA843B09678}" srcOrd="2" destOrd="0" presId="urn:microsoft.com/office/officeart/2005/8/layout/default"/>
    <dgm:cxn modelId="{DD5B55F3-C478-4CE9-A422-BD7A58C07B95}" type="presParOf" srcId="{C4D0D06F-C05B-431D-816B-964F4DEFD25E}" destId="{E801512A-CF4B-4AC9-B9F8-AE43D72B6ED8}" srcOrd="3" destOrd="0" presId="urn:microsoft.com/office/officeart/2005/8/layout/default"/>
    <dgm:cxn modelId="{9D111068-6621-4DBD-A841-1CD17BFE797F}" type="presParOf" srcId="{C4D0D06F-C05B-431D-816B-964F4DEFD25E}" destId="{99EBB280-35FF-4985-AD72-142BC51A1744}" srcOrd="4" destOrd="0" presId="urn:microsoft.com/office/officeart/2005/8/layout/default"/>
    <dgm:cxn modelId="{B93B8FD3-1953-4706-8B1F-6A4EAD89BEBB}" type="presParOf" srcId="{C4D0D06F-C05B-431D-816B-964F4DEFD25E}" destId="{BF0D775C-8C05-4B58-9FC8-C3741A60873C}" srcOrd="5" destOrd="0" presId="urn:microsoft.com/office/officeart/2005/8/layout/default"/>
    <dgm:cxn modelId="{35289101-3BF5-4455-9A85-2A59A1EE2B54}" type="presParOf" srcId="{C4D0D06F-C05B-431D-816B-964F4DEFD25E}" destId="{159C08CA-105A-4CCF-8DFA-D0C117662B5A}" srcOrd="6" destOrd="0" presId="urn:microsoft.com/office/officeart/2005/8/layout/default"/>
    <dgm:cxn modelId="{6908B85B-89EB-41EE-B1E0-B7C5AB0D4E6F}" type="presParOf" srcId="{C4D0D06F-C05B-431D-816B-964F4DEFD25E}" destId="{3DAB2C13-8D46-473B-AD0C-0FF6DBEAACE5}" srcOrd="7" destOrd="0" presId="urn:microsoft.com/office/officeart/2005/8/layout/default"/>
    <dgm:cxn modelId="{56CAB49D-0A8A-43B4-BCCF-27D7329DF151}" type="presParOf" srcId="{C4D0D06F-C05B-431D-816B-964F4DEFD25E}" destId="{D3A09A55-1C4A-4698-B95B-22A3FF4F8308}" srcOrd="8" destOrd="0" presId="urn:microsoft.com/office/officeart/2005/8/layout/default"/>
    <dgm:cxn modelId="{0DD624AF-EAD3-4066-994C-8CEDD416CAE9}" type="presParOf" srcId="{C4D0D06F-C05B-431D-816B-964F4DEFD25E}" destId="{3B8235AC-1210-45F5-839E-2761144B1591}" srcOrd="9" destOrd="0" presId="urn:microsoft.com/office/officeart/2005/8/layout/default"/>
    <dgm:cxn modelId="{C4805DC6-8114-48BD-B765-46D8D8E8FD4A}" type="presParOf" srcId="{C4D0D06F-C05B-431D-816B-964F4DEFD25E}" destId="{1D283551-182D-4F32-BB67-81DDEEF65A1D}" srcOrd="10" destOrd="0" presId="urn:microsoft.com/office/officeart/2005/8/layout/default"/>
    <dgm:cxn modelId="{FF45CFF0-82E5-4F70-9DF9-C93C62944ADC}" type="presParOf" srcId="{C4D0D06F-C05B-431D-816B-964F4DEFD25E}" destId="{DBC1BAF3-4689-49B8-AB6A-07438A5113F9}" srcOrd="11" destOrd="0" presId="urn:microsoft.com/office/officeart/2005/8/layout/default"/>
    <dgm:cxn modelId="{2322D963-E41B-485C-862B-E1E09823F09C}" type="presParOf" srcId="{C4D0D06F-C05B-431D-816B-964F4DEFD25E}" destId="{79B99989-1AB0-4F83-A1C8-B47D978DA6B7}" srcOrd="12" destOrd="0" presId="urn:microsoft.com/office/officeart/2005/8/layout/default"/>
    <dgm:cxn modelId="{2AD08C74-F3F6-40D7-92AC-F8BCB09331D8}" type="presParOf" srcId="{C4D0D06F-C05B-431D-816B-964F4DEFD25E}" destId="{7ECD4D68-554D-4CD3-B584-B43A1C6ECE1A}" srcOrd="13" destOrd="0" presId="urn:microsoft.com/office/officeart/2005/8/layout/default"/>
    <dgm:cxn modelId="{18B58252-B914-429B-9C55-9562A7CAACF8}" type="presParOf" srcId="{C4D0D06F-C05B-431D-816B-964F4DEFD25E}" destId="{5C919D79-4EE6-48D8-A3B5-96B95D5F1B4A}" srcOrd="1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39CACED-4357-4F54-B362-1BBD963F9528}" type="doc">
      <dgm:prSet loTypeId="urn:microsoft.com/office/officeart/2005/8/layout/orgChart1" loCatId="hierarchy" qsTypeId="urn:microsoft.com/office/officeart/2005/8/quickstyle/simple3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DE83BED6-72D2-40AA-AEC0-E00DB39B7779}">
      <dgm:prSet custT="1"/>
      <dgm:spPr/>
      <dgm:t>
        <a:bodyPr/>
        <a:lstStyle/>
        <a:p>
          <a:pPr rtl="0"/>
          <a:r>
            <a:rPr lang="en-US" sz="2400" dirty="0" smtClean="0"/>
            <a:t>Performance</a:t>
          </a:r>
          <a:endParaRPr lang="en-US" sz="2400" dirty="0"/>
        </a:p>
      </dgm:t>
    </dgm:pt>
    <dgm:pt modelId="{E909CF10-A94C-40D0-809D-A965F0027C14}" type="parTrans" cxnId="{91BC3888-C210-44D4-8F45-F0177B94D3D3}">
      <dgm:prSet/>
      <dgm:spPr/>
      <dgm:t>
        <a:bodyPr/>
        <a:lstStyle/>
        <a:p>
          <a:endParaRPr lang="en-US" sz="3200"/>
        </a:p>
      </dgm:t>
    </dgm:pt>
    <dgm:pt modelId="{9473080E-8303-4337-BC53-BC75E476AFCF}" type="sibTrans" cxnId="{91BC3888-C210-44D4-8F45-F0177B94D3D3}">
      <dgm:prSet/>
      <dgm:spPr/>
      <dgm:t>
        <a:bodyPr/>
        <a:lstStyle/>
        <a:p>
          <a:endParaRPr lang="en-US" sz="3200"/>
        </a:p>
      </dgm:t>
    </dgm:pt>
    <dgm:pt modelId="{F71B3521-3C56-4052-BCD1-EA1D3EC6C481}">
      <dgm:prSet custT="1"/>
      <dgm:spPr/>
      <dgm:t>
        <a:bodyPr/>
        <a:lstStyle/>
        <a:p>
          <a:pPr rtl="0"/>
          <a:r>
            <a:rPr lang="en-US" sz="1600" smtClean="0"/>
            <a:t>Control Resource Demand</a:t>
          </a:r>
          <a:endParaRPr lang="en-US" sz="1600"/>
        </a:p>
      </dgm:t>
    </dgm:pt>
    <dgm:pt modelId="{A60FFF55-2885-42D8-80AE-7C93D2F114D2}" type="parTrans" cxnId="{BA53FF5F-979E-45BD-8AFE-0436ABBEBD48}">
      <dgm:prSet custT="1"/>
      <dgm:spPr/>
      <dgm:t>
        <a:bodyPr/>
        <a:lstStyle/>
        <a:p>
          <a:endParaRPr lang="en-US" sz="900"/>
        </a:p>
      </dgm:t>
    </dgm:pt>
    <dgm:pt modelId="{04C87A95-CE1A-40CE-BD04-BA16A5204ACD}" type="sibTrans" cxnId="{BA53FF5F-979E-45BD-8AFE-0436ABBEBD48}">
      <dgm:prSet/>
      <dgm:spPr/>
      <dgm:t>
        <a:bodyPr/>
        <a:lstStyle/>
        <a:p>
          <a:endParaRPr lang="en-US" sz="3200"/>
        </a:p>
      </dgm:t>
    </dgm:pt>
    <dgm:pt modelId="{52326B99-223E-4164-90D7-189BFAB66F0A}">
      <dgm:prSet custT="1"/>
      <dgm:spPr/>
      <dgm:t>
        <a:bodyPr/>
        <a:lstStyle/>
        <a:p>
          <a:pPr rtl="0"/>
          <a:r>
            <a:rPr lang="en-US" sz="1600" dirty="0" smtClean="0"/>
            <a:t>Reduce resource </a:t>
          </a:r>
          <a:r>
            <a:rPr lang="en-US" sz="1600" dirty="0" err="1" smtClean="0"/>
            <a:t>reqd</a:t>
          </a:r>
          <a:endParaRPr lang="en-US" sz="1600" dirty="0"/>
        </a:p>
      </dgm:t>
    </dgm:pt>
    <dgm:pt modelId="{43F9BBB7-7A45-4719-B812-E36462539D72}" type="parTrans" cxnId="{80AA12F1-72CF-4118-B799-EB126F2E4659}">
      <dgm:prSet custT="1"/>
      <dgm:spPr/>
      <dgm:t>
        <a:bodyPr/>
        <a:lstStyle/>
        <a:p>
          <a:endParaRPr lang="en-US" sz="900"/>
        </a:p>
      </dgm:t>
    </dgm:pt>
    <dgm:pt modelId="{6A06A137-FFCF-4AC8-A6A6-6CC520E649F9}" type="sibTrans" cxnId="{80AA12F1-72CF-4118-B799-EB126F2E4659}">
      <dgm:prSet/>
      <dgm:spPr/>
      <dgm:t>
        <a:bodyPr/>
        <a:lstStyle/>
        <a:p>
          <a:endParaRPr lang="en-US" sz="3200"/>
        </a:p>
      </dgm:t>
    </dgm:pt>
    <dgm:pt modelId="{E451B676-0CAC-406F-89E6-916AC8C8C93A}">
      <dgm:prSet custT="1"/>
      <dgm:spPr/>
      <dgm:t>
        <a:bodyPr/>
        <a:lstStyle/>
        <a:p>
          <a:pPr rtl="0"/>
          <a:r>
            <a:rPr lang="en-US" sz="1600" dirty="0" smtClean="0"/>
            <a:t>Increase in compute efficiency</a:t>
          </a:r>
          <a:endParaRPr lang="en-US" sz="1600" dirty="0"/>
        </a:p>
      </dgm:t>
    </dgm:pt>
    <dgm:pt modelId="{A452153C-2C8E-4105-89D1-F2A798AB2705}" type="parTrans" cxnId="{D905224C-9F43-4CD3-90EB-0488072EA899}">
      <dgm:prSet custT="1"/>
      <dgm:spPr/>
      <dgm:t>
        <a:bodyPr/>
        <a:lstStyle/>
        <a:p>
          <a:endParaRPr lang="en-US" sz="900"/>
        </a:p>
      </dgm:t>
    </dgm:pt>
    <dgm:pt modelId="{CBDF9A26-4D10-4197-9A88-511C33963680}" type="sibTrans" cxnId="{D905224C-9F43-4CD3-90EB-0488072EA899}">
      <dgm:prSet/>
      <dgm:spPr/>
      <dgm:t>
        <a:bodyPr/>
        <a:lstStyle/>
        <a:p>
          <a:endParaRPr lang="en-US" sz="3200"/>
        </a:p>
      </dgm:t>
    </dgm:pt>
    <dgm:pt modelId="{810B1EE7-ADA7-4515-A7BC-7AA700C89083}">
      <dgm:prSet custT="1"/>
      <dgm:spPr/>
      <dgm:t>
        <a:bodyPr/>
        <a:lstStyle/>
        <a:p>
          <a:pPr rtl="0"/>
          <a:r>
            <a:rPr lang="en-US" sz="1600" smtClean="0"/>
            <a:t>Reduce overhead</a:t>
          </a:r>
          <a:endParaRPr lang="en-US" sz="1600"/>
        </a:p>
      </dgm:t>
    </dgm:pt>
    <dgm:pt modelId="{688FDE0E-B158-4D2A-BD17-E32A7E92A590}" type="parTrans" cxnId="{21067F37-5C70-43C8-B9FA-046E8A81E312}">
      <dgm:prSet custT="1"/>
      <dgm:spPr/>
      <dgm:t>
        <a:bodyPr/>
        <a:lstStyle/>
        <a:p>
          <a:endParaRPr lang="en-US" sz="900"/>
        </a:p>
      </dgm:t>
    </dgm:pt>
    <dgm:pt modelId="{3F338A8F-D527-4D99-9FD4-7663FE18B3FB}" type="sibTrans" cxnId="{21067F37-5C70-43C8-B9FA-046E8A81E312}">
      <dgm:prSet/>
      <dgm:spPr/>
      <dgm:t>
        <a:bodyPr/>
        <a:lstStyle/>
        <a:p>
          <a:endParaRPr lang="en-US" sz="3200"/>
        </a:p>
      </dgm:t>
    </dgm:pt>
    <dgm:pt modelId="{E4F26A9D-442B-4CF3-B8A7-61AD103578AA}">
      <dgm:prSet custT="1"/>
      <dgm:spPr/>
      <dgm:t>
        <a:bodyPr/>
        <a:lstStyle/>
        <a:p>
          <a:pPr rtl="0"/>
          <a:r>
            <a:rPr lang="en-US" sz="1600" smtClean="0"/>
            <a:t>Reduce #of events</a:t>
          </a:r>
          <a:endParaRPr lang="en-US" sz="1600"/>
        </a:p>
      </dgm:t>
    </dgm:pt>
    <dgm:pt modelId="{7B7C413D-1FCC-4D9D-9F1C-BACFFAFF07D7}" type="parTrans" cxnId="{BFAD9CB4-B266-4ED1-B256-5B115E51A922}">
      <dgm:prSet custT="1"/>
      <dgm:spPr/>
      <dgm:t>
        <a:bodyPr/>
        <a:lstStyle/>
        <a:p>
          <a:endParaRPr lang="en-US" sz="900"/>
        </a:p>
      </dgm:t>
    </dgm:pt>
    <dgm:pt modelId="{A44C9AC1-0FD1-4891-8DAF-618E59E6EBED}" type="sibTrans" cxnId="{BFAD9CB4-B266-4ED1-B256-5B115E51A922}">
      <dgm:prSet/>
      <dgm:spPr/>
      <dgm:t>
        <a:bodyPr/>
        <a:lstStyle/>
        <a:p>
          <a:endParaRPr lang="en-US" sz="3200"/>
        </a:p>
      </dgm:t>
    </dgm:pt>
    <dgm:pt modelId="{7671B5D7-6326-4F5B-A653-3CAF4F85C317}">
      <dgm:prSet custT="1"/>
      <dgm:spPr/>
      <dgm:t>
        <a:bodyPr/>
        <a:lstStyle/>
        <a:p>
          <a:pPr rtl="0"/>
          <a:r>
            <a:rPr lang="en-US" sz="1600" smtClean="0"/>
            <a:t>Manage event rate</a:t>
          </a:r>
          <a:endParaRPr lang="en-US" sz="1600"/>
        </a:p>
      </dgm:t>
    </dgm:pt>
    <dgm:pt modelId="{7E5C29F3-5719-4E17-8CBB-86C58D1C392D}" type="parTrans" cxnId="{4E32FD09-72B4-4A0C-859E-E8EC0735A805}">
      <dgm:prSet custT="1"/>
      <dgm:spPr/>
      <dgm:t>
        <a:bodyPr/>
        <a:lstStyle/>
        <a:p>
          <a:endParaRPr lang="en-US" sz="900"/>
        </a:p>
      </dgm:t>
    </dgm:pt>
    <dgm:pt modelId="{E73BEF5A-7A13-4798-875B-3AF82E129181}" type="sibTrans" cxnId="{4E32FD09-72B4-4A0C-859E-E8EC0735A805}">
      <dgm:prSet/>
      <dgm:spPr/>
      <dgm:t>
        <a:bodyPr/>
        <a:lstStyle/>
        <a:p>
          <a:endParaRPr lang="en-US" sz="3200"/>
        </a:p>
      </dgm:t>
    </dgm:pt>
    <dgm:pt modelId="{3120464E-6024-475A-B833-ED05EB9364F6}">
      <dgm:prSet custT="1"/>
      <dgm:spPr/>
      <dgm:t>
        <a:bodyPr/>
        <a:lstStyle/>
        <a:p>
          <a:pPr rtl="0"/>
          <a:r>
            <a:rPr lang="en-US" sz="1600" dirty="0" smtClean="0"/>
            <a:t>Control sampling </a:t>
          </a:r>
          <a:r>
            <a:rPr lang="en-US" sz="1600" dirty="0" err="1" smtClean="0"/>
            <a:t>freq</a:t>
          </a:r>
          <a:endParaRPr lang="en-US" sz="1600" dirty="0"/>
        </a:p>
      </dgm:t>
    </dgm:pt>
    <dgm:pt modelId="{9C6E6B69-2180-480A-A2A4-BBF946CFBF3C}" type="parTrans" cxnId="{47B2ACAB-05D1-4DAF-8B40-5A7D70A3708E}">
      <dgm:prSet custT="1"/>
      <dgm:spPr/>
      <dgm:t>
        <a:bodyPr/>
        <a:lstStyle/>
        <a:p>
          <a:endParaRPr lang="en-US" sz="900"/>
        </a:p>
      </dgm:t>
    </dgm:pt>
    <dgm:pt modelId="{76E983C7-6E5F-439F-9C61-D3301964DD49}" type="sibTrans" cxnId="{47B2ACAB-05D1-4DAF-8B40-5A7D70A3708E}">
      <dgm:prSet/>
      <dgm:spPr/>
      <dgm:t>
        <a:bodyPr/>
        <a:lstStyle/>
        <a:p>
          <a:endParaRPr lang="en-US" sz="3200"/>
        </a:p>
      </dgm:t>
    </dgm:pt>
    <dgm:pt modelId="{F0813E2C-4806-4C65-8B5D-B3CAA55AB4B6}">
      <dgm:prSet custT="1"/>
      <dgm:spPr/>
      <dgm:t>
        <a:bodyPr/>
        <a:lstStyle/>
        <a:p>
          <a:pPr rtl="0"/>
          <a:r>
            <a:rPr lang="en-US" sz="1600" dirty="0" smtClean="0"/>
            <a:t>Control resource usage</a:t>
          </a:r>
          <a:endParaRPr lang="en-US" sz="1600" dirty="0"/>
        </a:p>
      </dgm:t>
    </dgm:pt>
    <dgm:pt modelId="{5C8FC595-5907-4E6D-A000-F6203E0A6DB2}" type="parTrans" cxnId="{AA254AB3-A982-43DF-BF08-2B63FC3E8ACF}">
      <dgm:prSet custT="1"/>
      <dgm:spPr/>
      <dgm:t>
        <a:bodyPr/>
        <a:lstStyle/>
        <a:p>
          <a:endParaRPr lang="en-US" sz="900"/>
        </a:p>
      </dgm:t>
    </dgm:pt>
    <dgm:pt modelId="{3964BBF3-C709-403C-B809-DE00E322985E}" type="sibTrans" cxnId="{AA254AB3-A982-43DF-BF08-2B63FC3E8ACF}">
      <dgm:prSet/>
      <dgm:spPr/>
      <dgm:t>
        <a:bodyPr/>
        <a:lstStyle/>
        <a:p>
          <a:endParaRPr lang="en-US" sz="3200"/>
        </a:p>
      </dgm:t>
    </dgm:pt>
    <dgm:pt modelId="{2024CE07-0840-4AFA-A285-8A332F9F0084}">
      <dgm:prSet custT="1"/>
      <dgm:spPr/>
      <dgm:t>
        <a:bodyPr/>
        <a:lstStyle/>
        <a:p>
          <a:pPr rtl="0"/>
          <a:r>
            <a:rPr lang="en-US" sz="1600" dirty="0" smtClean="0"/>
            <a:t>Bound execution time</a:t>
          </a:r>
          <a:endParaRPr lang="en-US" sz="1600" dirty="0"/>
        </a:p>
      </dgm:t>
    </dgm:pt>
    <dgm:pt modelId="{4ED415F9-59B2-4644-8650-A4A52C08AAF1}" type="parTrans" cxnId="{287E05F7-89BA-4B54-8AFF-77FBEBA79715}">
      <dgm:prSet custT="1"/>
      <dgm:spPr/>
      <dgm:t>
        <a:bodyPr/>
        <a:lstStyle/>
        <a:p>
          <a:endParaRPr lang="en-US" sz="900"/>
        </a:p>
      </dgm:t>
    </dgm:pt>
    <dgm:pt modelId="{25F22E91-CAE5-4C7C-9F8E-57A952A79A8E}" type="sibTrans" cxnId="{287E05F7-89BA-4B54-8AFF-77FBEBA79715}">
      <dgm:prSet/>
      <dgm:spPr/>
      <dgm:t>
        <a:bodyPr/>
        <a:lstStyle/>
        <a:p>
          <a:endParaRPr lang="en-US" sz="3200"/>
        </a:p>
      </dgm:t>
    </dgm:pt>
    <dgm:pt modelId="{7ACFD0D1-A2F7-4D8B-B016-D6307FF6BC97}">
      <dgm:prSet custT="1"/>
      <dgm:spPr/>
      <dgm:t>
        <a:bodyPr/>
        <a:lstStyle/>
        <a:p>
          <a:pPr rtl="0"/>
          <a:r>
            <a:rPr lang="en-US" sz="1600" dirty="0" smtClean="0"/>
            <a:t>Bound queue size</a:t>
          </a:r>
          <a:endParaRPr lang="en-US" sz="1600" dirty="0"/>
        </a:p>
      </dgm:t>
    </dgm:pt>
    <dgm:pt modelId="{17043636-82E3-4A58-BD54-255DAE385AA4}" type="parTrans" cxnId="{223C3792-783D-4965-8CFD-8BFA18063BE5}">
      <dgm:prSet custT="1"/>
      <dgm:spPr/>
      <dgm:t>
        <a:bodyPr/>
        <a:lstStyle/>
        <a:p>
          <a:endParaRPr lang="en-US" sz="900"/>
        </a:p>
      </dgm:t>
    </dgm:pt>
    <dgm:pt modelId="{447DFFCA-08FE-45A8-A203-ECEF4DEF995A}" type="sibTrans" cxnId="{223C3792-783D-4965-8CFD-8BFA18063BE5}">
      <dgm:prSet/>
      <dgm:spPr/>
      <dgm:t>
        <a:bodyPr/>
        <a:lstStyle/>
        <a:p>
          <a:endParaRPr lang="en-US" sz="3200"/>
        </a:p>
      </dgm:t>
    </dgm:pt>
    <dgm:pt modelId="{94FACFF2-580F-4E03-A72E-6A78D3F61A0D}">
      <dgm:prSet custT="1"/>
      <dgm:spPr/>
      <dgm:t>
        <a:bodyPr/>
        <a:lstStyle/>
        <a:p>
          <a:pPr rtl="0"/>
          <a:r>
            <a:rPr lang="en-US" sz="1600" dirty="0" smtClean="0"/>
            <a:t>Resource Management</a:t>
          </a:r>
          <a:endParaRPr lang="en-US" sz="1600" dirty="0"/>
        </a:p>
      </dgm:t>
    </dgm:pt>
    <dgm:pt modelId="{BBB07DC0-FEB0-41A7-994C-B6C0577FD4BB}" type="parTrans" cxnId="{68AE023E-F2C9-43DB-AF67-5F5A3881FC9A}">
      <dgm:prSet custT="1"/>
      <dgm:spPr/>
      <dgm:t>
        <a:bodyPr/>
        <a:lstStyle/>
        <a:p>
          <a:endParaRPr lang="en-US" sz="900"/>
        </a:p>
      </dgm:t>
    </dgm:pt>
    <dgm:pt modelId="{885E6A8D-99E2-48EC-9D08-E3ED777D83AC}" type="sibTrans" cxnId="{68AE023E-F2C9-43DB-AF67-5F5A3881FC9A}">
      <dgm:prSet/>
      <dgm:spPr/>
      <dgm:t>
        <a:bodyPr/>
        <a:lstStyle/>
        <a:p>
          <a:endParaRPr lang="en-US" sz="3200"/>
        </a:p>
      </dgm:t>
    </dgm:pt>
    <dgm:pt modelId="{930425C0-40A6-483D-B20A-ADF47FECA268}">
      <dgm:prSet custT="1"/>
      <dgm:spPr/>
      <dgm:t>
        <a:bodyPr/>
        <a:lstStyle/>
        <a:p>
          <a:pPr rtl="0"/>
          <a:r>
            <a:rPr lang="en-US" sz="1600" b="0" smtClean="0"/>
            <a:t>Increase concurrency</a:t>
          </a:r>
          <a:endParaRPr lang="en-US" sz="1600"/>
        </a:p>
      </dgm:t>
    </dgm:pt>
    <dgm:pt modelId="{D0A1B840-787D-4ED8-9FA8-82EFBF4A16ED}" type="parTrans" cxnId="{AEAF9D67-E660-462E-915D-DBA4FC31214E}">
      <dgm:prSet custT="1"/>
      <dgm:spPr/>
      <dgm:t>
        <a:bodyPr/>
        <a:lstStyle/>
        <a:p>
          <a:endParaRPr lang="en-US" sz="900"/>
        </a:p>
      </dgm:t>
    </dgm:pt>
    <dgm:pt modelId="{6EA20A79-F908-456E-9CB2-9415506673C5}" type="sibTrans" cxnId="{AEAF9D67-E660-462E-915D-DBA4FC31214E}">
      <dgm:prSet/>
      <dgm:spPr/>
      <dgm:t>
        <a:bodyPr/>
        <a:lstStyle/>
        <a:p>
          <a:endParaRPr lang="en-US" sz="3200"/>
        </a:p>
      </dgm:t>
    </dgm:pt>
    <dgm:pt modelId="{1026319C-D65E-47DE-B68C-CB11FC289573}">
      <dgm:prSet custT="1"/>
      <dgm:spPr/>
      <dgm:t>
        <a:bodyPr/>
        <a:lstStyle/>
        <a:p>
          <a:pPr rtl="0"/>
          <a:r>
            <a:rPr lang="en-US" sz="1600" dirty="0" smtClean="0"/>
            <a:t>Maintain multiple copies of data/ computation</a:t>
          </a:r>
          <a:endParaRPr lang="en-US" sz="1600" dirty="0"/>
        </a:p>
      </dgm:t>
    </dgm:pt>
    <dgm:pt modelId="{AC66B097-9A77-4B4E-88EB-CCA6711BE3A9}" type="parTrans" cxnId="{16D0589D-860A-4F46-BA1F-F5A87674EE29}">
      <dgm:prSet custT="1"/>
      <dgm:spPr/>
      <dgm:t>
        <a:bodyPr/>
        <a:lstStyle/>
        <a:p>
          <a:endParaRPr lang="en-US" sz="900"/>
        </a:p>
      </dgm:t>
    </dgm:pt>
    <dgm:pt modelId="{4C185AE5-94A0-4DC9-BF18-A322378B65E3}" type="sibTrans" cxnId="{16D0589D-860A-4F46-BA1F-F5A87674EE29}">
      <dgm:prSet/>
      <dgm:spPr/>
      <dgm:t>
        <a:bodyPr/>
        <a:lstStyle/>
        <a:p>
          <a:endParaRPr lang="en-US" sz="3200"/>
        </a:p>
      </dgm:t>
    </dgm:pt>
    <dgm:pt modelId="{B814C49C-8DAB-46CD-88C0-98D4B1FCF628}">
      <dgm:prSet custT="1"/>
      <dgm:spPr/>
      <dgm:t>
        <a:bodyPr/>
        <a:lstStyle/>
        <a:p>
          <a:pPr rtl="0"/>
          <a:r>
            <a:rPr lang="en-US" sz="1600" b="0" smtClean="0"/>
            <a:t>Increase Resource</a:t>
          </a:r>
          <a:endParaRPr lang="en-US" sz="1600"/>
        </a:p>
      </dgm:t>
    </dgm:pt>
    <dgm:pt modelId="{E66D0E20-5C3D-409D-809A-AF9EF574822C}" type="parTrans" cxnId="{ECE6AD1B-E202-4101-8BE3-577AB0E85D45}">
      <dgm:prSet custT="1"/>
      <dgm:spPr/>
      <dgm:t>
        <a:bodyPr/>
        <a:lstStyle/>
        <a:p>
          <a:endParaRPr lang="en-US" sz="900"/>
        </a:p>
      </dgm:t>
    </dgm:pt>
    <dgm:pt modelId="{BAB494CC-CDA7-4E3A-AAC9-7B11016243B3}" type="sibTrans" cxnId="{ECE6AD1B-E202-4101-8BE3-577AB0E85D45}">
      <dgm:prSet/>
      <dgm:spPr/>
      <dgm:t>
        <a:bodyPr/>
        <a:lstStyle/>
        <a:p>
          <a:endParaRPr lang="en-US" sz="3200"/>
        </a:p>
      </dgm:t>
    </dgm:pt>
    <dgm:pt modelId="{2CDD2A35-444D-4D71-92BA-C8B34D8CA909}">
      <dgm:prSet custT="1"/>
      <dgm:spPr/>
      <dgm:t>
        <a:bodyPr/>
        <a:lstStyle/>
        <a:p>
          <a:pPr rtl="0"/>
          <a:r>
            <a:rPr lang="en-US" sz="1600" smtClean="0"/>
            <a:t>Resource Arbitration</a:t>
          </a:r>
          <a:endParaRPr lang="en-US" sz="1600"/>
        </a:p>
      </dgm:t>
    </dgm:pt>
    <dgm:pt modelId="{5E6F2279-1A64-4664-9BDB-D1E6E052C3CB}" type="parTrans" cxnId="{627D6356-807D-4C8D-B05C-37459C390F38}">
      <dgm:prSet custT="1"/>
      <dgm:spPr/>
      <dgm:t>
        <a:bodyPr/>
        <a:lstStyle/>
        <a:p>
          <a:endParaRPr lang="en-US" sz="900"/>
        </a:p>
      </dgm:t>
    </dgm:pt>
    <dgm:pt modelId="{20FFD80E-CD8F-4EB4-9A9C-368F11DA1E34}" type="sibTrans" cxnId="{627D6356-807D-4C8D-B05C-37459C390F38}">
      <dgm:prSet/>
      <dgm:spPr/>
      <dgm:t>
        <a:bodyPr/>
        <a:lstStyle/>
        <a:p>
          <a:endParaRPr lang="en-US" sz="3200"/>
        </a:p>
      </dgm:t>
    </dgm:pt>
    <dgm:pt modelId="{4BFE5450-8F82-4A26-8FDF-DF7A6C482BF7}">
      <dgm:prSet custT="1"/>
      <dgm:spPr/>
      <dgm:t>
        <a:bodyPr/>
        <a:lstStyle/>
        <a:p>
          <a:pPr rtl="0"/>
          <a:r>
            <a:rPr lang="en-US" sz="1600" smtClean="0"/>
            <a:t>FIFO</a:t>
          </a:r>
          <a:endParaRPr lang="en-US" sz="1600"/>
        </a:p>
      </dgm:t>
    </dgm:pt>
    <dgm:pt modelId="{68FFA976-AE26-4683-8AEF-A4906C549929}" type="parTrans" cxnId="{403EDE93-A57A-4F9E-B3EE-F5B39722219E}">
      <dgm:prSet custT="1"/>
      <dgm:spPr/>
      <dgm:t>
        <a:bodyPr/>
        <a:lstStyle/>
        <a:p>
          <a:endParaRPr lang="en-US" sz="900"/>
        </a:p>
      </dgm:t>
    </dgm:pt>
    <dgm:pt modelId="{29569558-4D7A-4E00-A197-0DC2808CADE1}" type="sibTrans" cxnId="{403EDE93-A57A-4F9E-B3EE-F5B39722219E}">
      <dgm:prSet/>
      <dgm:spPr/>
      <dgm:t>
        <a:bodyPr/>
        <a:lstStyle/>
        <a:p>
          <a:endParaRPr lang="en-US" sz="3200"/>
        </a:p>
      </dgm:t>
    </dgm:pt>
    <dgm:pt modelId="{E153FD2F-958B-4501-A714-C375DBAA7B73}">
      <dgm:prSet custT="1"/>
      <dgm:spPr/>
      <dgm:t>
        <a:bodyPr/>
        <a:lstStyle/>
        <a:p>
          <a:pPr rtl="0"/>
          <a:r>
            <a:rPr lang="en-US" sz="1600" smtClean="0"/>
            <a:t>Scheduling policy</a:t>
          </a:r>
          <a:endParaRPr lang="en-US" sz="1600"/>
        </a:p>
      </dgm:t>
    </dgm:pt>
    <dgm:pt modelId="{37569E72-FE62-463B-985A-434A9B88A922}" type="parTrans" cxnId="{8261E12B-45A4-4AE4-A085-34D551051DF2}">
      <dgm:prSet custT="1"/>
      <dgm:spPr/>
      <dgm:t>
        <a:bodyPr/>
        <a:lstStyle/>
        <a:p>
          <a:endParaRPr lang="en-US" sz="900"/>
        </a:p>
      </dgm:t>
    </dgm:pt>
    <dgm:pt modelId="{813871F4-893C-45CA-90CA-14A824331AF1}" type="sibTrans" cxnId="{8261E12B-45A4-4AE4-A085-34D551051DF2}">
      <dgm:prSet/>
      <dgm:spPr/>
      <dgm:t>
        <a:bodyPr/>
        <a:lstStyle/>
        <a:p>
          <a:endParaRPr lang="en-US" sz="3200"/>
        </a:p>
      </dgm:t>
    </dgm:pt>
    <dgm:pt modelId="{2200EFBE-E51B-40A8-A3E2-1D0324F302C7}">
      <dgm:prSet custT="1"/>
      <dgm:spPr/>
      <dgm:t>
        <a:bodyPr/>
        <a:lstStyle/>
        <a:p>
          <a:pPr rtl="0"/>
          <a:r>
            <a:rPr lang="en-US" sz="1600" smtClean="0"/>
            <a:t>Static </a:t>
          </a:r>
          <a:endParaRPr lang="en-US" sz="1600"/>
        </a:p>
      </dgm:t>
    </dgm:pt>
    <dgm:pt modelId="{1B74D045-C566-437F-BAD9-2E5044FD5BC2}" type="parTrans" cxnId="{622C97C6-A014-496D-9ABC-01BCAE9C902F}">
      <dgm:prSet custT="1"/>
      <dgm:spPr/>
      <dgm:t>
        <a:bodyPr/>
        <a:lstStyle/>
        <a:p>
          <a:endParaRPr lang="en-US" sz="900"/>
        </a:p>
      </dgm:t>
    </dgm:pt>
    <dgm:pt modelId="{467E0E56-FE40-425D-B073-0E8D99971773}" type="sibTrans" cxnId="{622C97C6-A014-496D-9ABC-01BCAE9C902F}">
      <dgm:prSet/>
      <dgm:spPr/>
      <dgm:t>
        <a:bodyPr/>
        <a:lstStyle/>
        <a:p>
          <a:endParaRPr lang="en-US" sz="3200"/>
        </a:p>
      </dgm:t>
    </dgm:pt>
    <dgm:pt modelId="{DF1F2610-331D-40FA-BF9D-6EDF9EFE51A9}">
      <dgm:prSet custT="1"/>
      <dgm:spPr/>
      <dgm:t>
        <a:bodyPr/>
        <a:lstStyle/>
        <a:p>
          <a:pPr rtl="0"/>
          <a:r>
            <a:rPr lang="en-US" sz="1600" smtClean="0"/>
            <a:t>Dynamic priority</a:t>
          </a:r>
          <a:endParaRPr lang="en-US" sz="1600"/>
        </a:p>
      </dgm:t>
    </dgm:pt>
    <dgm:pt modelId="{0F371CAE-D9D2-46D9-8B94-DA36E13C6AD2}" type="parTrans" cxnId="{1E27E3D6-4258-41F0-A036-70EBDD7987F0}">
      <dgm:prSet custT="1"/>
      <dgm:spPr/>
      <dgm:t>
        <a:bodyPr/>
        <a:lstStyle/>
        <a:p>
          <a:endParaRPr lang="en-US" sz="900"/>
        </a:p>
      </dgm:t>
    </dgm:pt>
    <dgm:pt modelId="{42F110AA-9D8C-489A-8265-CF1111F09DD2}" type="sibTrans" cxnId="{1E27E3D6-4258-41F0-A036-70EBDD7987F0}">
      <dgm:prSet/>
      <dgm:spPr/>
      <dgm:t>
        <a:bodyPr/>
        <a:lstStyle/>
        <a:p>
          <a:endParaRPr lang="en-US" sz="3200"/>
        </a:p>
      </dgm:t>
    </dgm:pt>
    <dgm:pt modelId="{22411C1A-32C3-429F-B62A-F788CAD2365E}">
      <dgm:prSet custT="1"/>
      <dgm:spPr/>
      <dgm:t>
        <a:bodyPr/>
        <a:lstStyle/>
        <a:p>
          <a:pPr rtl="0"/>
          <a:r>
            <a:rPr lang="en-US" sz="1600" smtClean="0"/>
            <a:t>Fixed priority</a:t>
          </a:r>
          <a:endParaRPr lang="en-US" sz="1600"/>
        </a:p>
      </dgm:t>
    </dgm:pt>
    <dgm:pt modelId="{38E38FE5-60BB-4700-B80B-60E945994C77}" type="parTrans" cxnId="{8E13874A-667D-49C8-AE83-125151F6BEEC}">
      <dgm:prSet custT="1"/>
      <dgm:spPr/>
      <dgm:t>
        <a:bodyPr/>
        <a:lstStyle/>
        <a:p>
          <a:endParaRPr lang="en-US" sz="900"/>
        </a:p>
      </dgm:t>
    </dgm:pt>
    <dgm:pt modelId="{54F2324B-9E8E-466F-9361-F9134718D6FF}" type="sibTrans" cxnId="{8E13874A-667D-49C8-AE83-125151F6BEEC}">
      <dgm:prSet/>
      <dgm:spPr/>
      <dgm:t>
        <a:bodyPr/>
        <a:lstStyle/>
        <a:p>
          <a:endParaRPr lang="en-US" sz="3200"/>
        </a:p>
      </dgm:t>
    </dgm:pt>
    <dgm:pt modelId="{28859B5A-0B83-443C-ADF5-F37810593438}" type="pres">
      <dgm:prSet presAssocID="{E39CACED-4357-4F54-B362-1BBD963F952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F6F7935D-6530-4593-AE5C-8F4559AFEF00}" type="pres">
      <dgm:prSet presAssocID="{DE83BED6-72D2-40AA-AEC0-E00DB39B7779}" presName="hierRoot1" presStyleCnt="0">
        <dgm:presLayoutVars>
          <dgm:hierBranch val="init"/>
        </dgm:presLayoutVars>
      </dgm:prSet>
      <dgm:spPr/>
    </dgm:pt>
    <dgm:pt modelId="{83F13196-00FF-420F-91B3-7265F9DA2E35}" type="pres">
      <dgm:prSet presAssocID="{DE83BED6-72D2-40AA-AEC0-E00DB39B7779}" presName="rootComposite1" presStyleCnt="0"/>
      <dgm:spPr/>
    </dgm:pt>
    <dgm:pt modelId="{38BA7490-6ACB-4B33-883C-6FA120FC9D65}" type="pres">
      <dgm:prSet presAssocID="{DE83BED6-72D2-40AA-AEC0-E00DB39B7779}" presName="rootText1" presStyleLbl="node0" presStyleIdx="0" presStyleCnt="1" custScaleX="172982" custLinFactNeighborY="-3428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80577D9-CE59-4684-96DE-28BAE8831EA2}" type="pres">
      <dgm:prSet presAssocID="{DE83BED6-72D2-40AA-AEC0-E00DB39B7779}" presName="rootConnector1" presStyleLbl="node1" presStyleIdx="0" presStyleCnt="0"/>
      <dgm:spPr/>
      <dgm:t>
        <a:bodyPr/>
        <a:lstStyle/>
        <a:p>
          <a:endParaRPr lang="en-US"/>
        </a:p>
      </dgm:t>
    </dgm:pt>
    <dgm:pt modelId="{7CEDCA83-5FB1-4912-AF43-4BFEBFF2F37F}" type="pres">
      <dgm:prSet presAssocID="{DE83BED6-72D2-40AA-AEC0-E00DB39B7779}" presName="hierChild2" presStyleCnt="0"/>
      <dgm:spPr/>
    </dgm:pt>
    <dgm:pt modelId="{FFA55980-77AF-44D0-A3F7-3BC269961AEC}" type="pres">
      <dgm:prSet presAssocID="{A60FFF55-2885-42D8-80AE-7C93D2F114D2}" presName="Name37" presStyleLbl="parChTrans1D2" presStyleIdx="0" presStyleCnt="3"/>
      <dgm:spPr/>
      <dgm:t>
        <a:bodyPr/>
        <a:lstStyle/>
        <a:p>
          <a:endParaRPr lang="en-US"/>
        </a:p>
      </dgm:t>
    </dgm:pt>
    <dgm:pt modelId="{00081117-45A1-413A-B1E7-872F21D2B3AC}" type="pres">
      <dgm:prSet presAssocID="{F71B3521-3C56-4052-BCD1-EA1D3EC6C481}" presName="hierRoot2" presStyleCnt="0">
        <dgm:presLayoutVars>
          <dgm:hierBranch val="init"/>
        </dgm:presLayoutVars>
      </dgm:prSet>
      <dgm:spPr/>
    </dgm:pt>
    <dgm:pt modelId="{04D54B35-6050-4549-B9DB-88983911643A}" type="pres">
      <dgm:prSet presAssocID="{F71B3521-3C56-4052-BCD1-EA1D3EC6C481}" presName="rootComposite" presStyleCnt="0"/>
      <dgm:spPr/>
    </dgm:pt>
    <dgm:pt modelId="{029320F6-83FB-4A89-9054-D9E9E12EE9BC}" type="pres">
      <dgm:prSet presAssocID="{F71B3521-3C56-4052-BCD1-EA1D3EC6C481}" presName="rootText" presStyleLbl="node2" presStyleIdx="0" presStyleCnt="3" custScaleX="14022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091A536-36A1-4130-9339-8B801A1F2803}" type="pres">
      <dgm:prSet presAssocID="{F71B3521-3C56-4052-BCD1-EA1D3EC6C481}" presName="rootConnector" presStyleLbl="node2" presStyleIdx="0" presStyleCnt="3"/>
      <dgm:spPr/>
      <dgm:t>
        <a:bodyPr/>
        <a:lstStyle/>
        <a:p>
          <a:endParaRPr lang="en-US"/>
        </a:p>
      </dgm:t>
    </dgm:pt>
    <dgm:pt modelId="{FF10DB19-2D38-4AA7-9618-B663B1423350}" type="pres">
      <dgm:prSet presAssocID="{F71B3521-3C56-4052-BCD1-EA1D3EC6C481}" presName="hierChild4" presStyleCnt="0"/>
      <dgm:spPr/>
    </dgm:pt>
    <dgm:pt modelId="{AC2F14F4-F80C-499C-898D-658D05F28B49}" type="pres">
      <dgm:prSet presAssocID="{43F9BBB7-7A45-4719-B812-E36462539D72}" presName="Name37" presStyleLbl="parChTrans1D3" presStyleIdx="0" presStyleCnt="8"/>
      <dgm:spPr/>
      <dgm:t>
        <a:bodyPr/>
        <a:lstStyle/>
        <a:p>
          <a:endParaRPr lang="en-US"/>
        </a:p>
      </dgm:t>
    </dgm:pt>
    <dgm:pt modelId="{4CBFBE2A-E49D-4A7B-ADC8-03FEEFC476A9}" type="pres">
      <dgm:prSet presAssocID="{52326B99-223E-4164-90D7-189BFAB66F0A}" presName="hierRoot2" presStyleCnt="0">
        <dgm:presLayoutVars>
          <dgm:hierBranch val="init"/>
        </dgm:presLayoutVars>
      </dgm:prSet>
      <dgm:spPr/>
    </dgm:pt>
    <dgm:pt modelId="{611245A0-6B2F-4851-A3A4-48E2F2F08A53}" type="pres">
      <dgm:prSet presAssocID="{52326B99-223E-4164-90D7-189BFAB66F0A}" presName="rootComposite" presStyleCnt="0"/>
      <dgm:spPr/>
    </dgm:pt>
    <dgm:pt modelId="{5A63B776-8325-407C-949F-EF4E998D6E29}" type="pres">
      <dgm:prSet presAssocID="{52326B99-223E-4164-90D7-189BFAB66F0A}" presName="rootText" presStyleLbl="node3" presStyleIdx="0" presStyleCnt="8" custScaleY="17074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A2A6560-D5A2-4CB4-B870-C2758A3902AA}" type="pres">
      <dgm:prSet presAssocID="{52326B99-223E-4164-90D7-189BFAB66F0A}" presName="rootConnector" presStyleLbl="node3" presStyleIdx="0" presStyleCnt="8"/>
      <dgm:spPr/>
      <dgm:t>
        <a:bodyPr/>
        <a:lstStyle/>
        <a:p>
          <a:endParaRPr lang="en-US"/>
        </a:p>
      </dgm:t>
    </dgm:pt>
    <dgm:pt modelId="{5652B142-197D-4B9C-A5CA-3F981E5F4F94}" type="pres">
      <dgm:prSet presAssocID="{52326B99-223E-4164-90D7-189BFAB66F0A}" presName="hierChild4" presStyleCnt="0"/>
      <dgm:spPr/>
    </dgm:pt>
    <dgm:pt modelId="{2A285E9D-B462-4456-8ED7-DDC2E8C76837}" type="pres">
      <dgm:prSet presAssocID="{A452153C-2C8E-4105-89D1-F2A798AB2705}" presName="Name37" presStyleLbl="parChTrans1D4" presStyleIdx="0" presStyleCnt="9"/>
      <dgm:spPr/>
      <dgm:t>
        <a:bodyPr/>
        <a:lstStyle/>
        <a:p>
          <a:endParaRPr lang="en-US"/>
        </a:p>
      </dgm:t>
    </dgm:pt>
    <dgm:pt modelId="{A0E18524-3B09-4688-9F9F-87AB30720A98}" type="pres">
      <dgm:prSet presAssocID="{E451B676-0CAC-406F-89E6-916AC8C8C93A}" presName="hierRoot2" presStyleCnt="0">
        <dgm:presLayoutVars>
          <dgm:hierBranch val="init"/>
        </dgm:presLayoutVars>
      </dgm:prSet>
      <dgm:spPr/>
    </dgm:pt>
    <dgm:pt modelId="{C01B0461-EEC3-4E13-A59D-BE7F52E75A87}" type="pres">
      <dgm:prSet presAssocID="{E451B676-0CAC-406F-89E6-916AC8C8C93A}" presName="rootComposite" presStyleCnt="0"/>
      <dgm:spPr/>
    </dgm:pt>
    <dgm:pt modelId="{EC11BC86-6BAE-45D5-BE76-F78A05459AB0}" type="pres">
      <dgm:prSet presAssocID="{E451B676-0CAC-406F-89E6-916AC8C8C93A}" presName="rootText" presStyleLbl="node4" presStyleIdx="0" presStyleCnt="9" custScaleY="16038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1904FC6-72D9-49E0-9284-1C5AB229A040}" type="pres">
      <dgm:prSet presAssocID="{E451B676-0CAC-406F-89E6-916AC8C8C93A}" presName="rootConnector" presStyleLbl="node4" presStyleIdx="0" presStyleCnt="9"/>
      <dgm:spPr/>
      <dgm:t>
        <a:bodyPr/>
        <a:lstStyle/>
        <a:p>
          <a:endParaRPr lang="en-US"/>
        </a:p>
      </dgm:t>
    </dgm:pt>
    <dgm:pt modelId="{B1958780-B180-4D09-813D-3FFCFB6D6A41}" type="pres">
      <dgm:prSet presAssocID="{E451B676-0CAC-406F-89E6-916AC8C8C93A}" presName="hierChild4" presStyleCnt="0"/>
      <dgm:spPr/>
    </dgm:pt>
    <dgm:pt modelId="{A514FABF-9D63-4365-8AA0-DAE0293AA92A}" type="pres">
      <dgm:prSet presAssocID="{E451B676-0CAC-406F-89E6-916AC8C8C93A}" presName="hierChild5" presStyleCnt="0"/>
      <dgm:spPr/>
    </dgm:pt>
    <dgm:pt modelId="{DA2BD802-BF83-415A-AED6-A8AEE65C718B}" type="pres">
      <dgm:prSet presAssocID="{688FDE0E-B158-4D2A-BD17-E32A7E92A590}" presName="Name37" presStyleLbl="parChTrans1D4" presStyleIdx="1" presStyleCnt="9"/>
      <dgm:spPr/>
      <dgm:t>
        <a:bodyPr/>
        <a:lstStyle/>
        <a:p>
          <a:endParaRPr lang="en-US"/>
        </a:p>
      </dgm:t>
    </dgm:pt>
    <dgm:pt modelId="{87CE19AB-47C5-400D-8A20-2D627BDEC313}" type="pres">
      <dgm:prSet presAssocID="{810B1EE7-ADA7-4515-A7BC-7AA700C89083}" presName="hierRoot2" presStyleCnt="0">
        <dgm:presLayoutVars>
          <dgm:hierBranch val="init"/>
        </dgm:presLayoutVars>
      </dgm:prSet>
      <dgm:spPr/>
    </dgm:pt>
    <dgm:pt modelId="{C7CB3C31-96F3-45F2-9490-029EC35187A7}" type="pres">
      <dgm:prSet presAssocID="{810B1EE7-ADA7-4515-A7BC-7AA700C89083}" presName="rootComposite" presStyleCnt="0"/>
      <dgm:spPr/>
    </dgm:pt>
    <dgm:pt modelId="{C7CAA8CC-E8AB-4416-AC75-95F821E67A5E}" type="pres">
      <dgm:prSet presAssocID="{810B1EE7-ADA7-4515-A7BC-7AA700C89083}" presName="rootText" presStyleLbl="node4" presStyleIdx="1" presStyleCnt="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B63BB0F-846E-4658-8317-2D639E924898}" type="pres">
      <dgm:prSet presAssocID="{810B1EE7-ADA7-4515-A7BC-7AA700C89083}" presName="rootConnector" presStyleLbl="node4" presStyleIdx="1" presStyleCnt="9"/>
      <dgm:spPr/>
      <dgm:t>
        <a:bodyPr/>
        <a:lstStyle/>
        <a:p>
          <a:endParaRPr lang="en-US"/>
        </a:p>
      </dgm:t>
    </dgm:pt>
    <dgm:pt modelId="{5DF7D52E-E6F0-4B9B-B745-37DDD18BC703}" type="pres">
      <dgm:prSet presAssocID="{810B1EE7-ADA7-4515-A7BC-7AA700C89083}" presName="hierChild4" presStyleCnt="0"/>
      <dgm:spPr/>
    </dgm:pt>
    <dgm:pt modelId="{1D73D43A-92BE-4D5C-9170-CC170013A0BE}" type="pres">
      <dgm:prSet presAssocID="{810B1EE7-ADA7-4515-A7BC-7AA700C89083}" presName="hierChild5" presStyleCnt="0"/>
      <dgm:spPr/>
    </dgm:pt>
    <dgm:pt modelId="{478812A8-6644-4BDA-9BD5-4197CB329005}" type="pres">
      <dgm:prSet presAssocID="{52326B99-223E-4164-90D7-189BFAB66F0A}" presName="hierChild5" presStyleCnt="0"/>
      <dgm:spPr/>
    </dgm:pt>
    <dgm:pt modelId="{DD6034CB-E414-4170-8B00-5686E0E374AF}" type="pres">
      <dgm:prSet presAssocID="{7B7C413D-1FCC-4D9D-9F1C-BACFFAFF07D7}" presName="Name37" presStyleLbl="parChTrans1D3" presStyleIdx="1" presStyleCnt="8"/>
      <dgm:spPr/>
      <dgm:t>
        <a:bodyPr/>
        <a:lstStyle/>
        <a:p>
          <a:endParaRPr lang="en-US"/>
        </a:p>
      </dgm:t>
    </dgm:pt>
    <dgm:pt modelId="{9D8527AD-E679-4383-8B4C-CC91C60E6EE1}" type="pres">
      <dgm:prSet presAssocID="{E4F26A9D-442B-4CF3-B8A7-61AD103578AA}" presName="hierRoot2" presStyleCnt="0">
        <dgm:presLayoutVars>
          <dgm:hierBranch val="init"/>
        </dgm:presLayoutVars>
      </dgm:prSet>
      <dgm:spPr/>
    </dgm:pt>
    <dgm:pt modelId="{1190FBA8-42EB-46E4-8E8B-EB5519E379A6}" type="pres">
      <dgm:prSet presAssocID="{E4F26A9D-442B-4CF3-B8A7-61AD103578AA}" presName="rootComposite" presStyleCnt="0"/>
      <dgm:spPr/>
    </dgm:pt>
    <dgm:pt modelId="{63FC501E-E654-41F7-BA6A-0BF70B2D3C70}" type="pres">
      <dgm:prSet presAssocID="{E4F26A9D-442B-4CF3-B8A7-61AD103578AA}" presName="rootText" presStyleLbl="node3" presStyleIdx="1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C7A89E5-BCC5-49F8-9C2E-B40770C21629}" type="pres">
      <dgm:prSet presAssocID="{E4F26A9D-442B-4CF3-B8A7-61AD103578AA}" presName="rootConnector" presStyleLbl="node3" presStyleIdx="1" presStyleCnt="8"/>
      <dgm:spPr/>
      <dgm:t>
        <a:bodyPr/>
        <a:lstStyle/>
        <a:p>
          <a:endParaRPr lang="en-US"/>
        </a:p>
      </dgm:t>
    </dgm:pt>
    <dgm:pt modelId="{D826AFC1-BBC9-410E-B541-8B98E3D3FD15}" type="pres">
      <dgm:prSet presAssocID="{E4F26A9D-442B-4CF3-B8A7-61AD103578AA}" presName="hierChild4" presStyleCnt="0"/>
      <dgm:spPr/>
    </dgm:pt>
    <dgm:pt modelId="{7ECEA8CD-85C0-4A0E-A40C-3A0438CC7C86}" type="pres">
      <dgm:prSet presAssocID="{7E5C29F3-5719-4E17-8CBB-86C58D1C392D}" presName="Name37" presStyleLbl="parChTrans1D4" presStyleIdx="2" presStyleCnt="9"/>
      <dgm:spPr/>
      <dgm:t>
        <a:bodyPr/>
        <a:lstStyle/>
        <a:p>
          <a:endParaRPr lang="en-US"/>
        </a:p>
      </dgm:t>
    </dgm:pt>
    <dgm:pt modelId="{87812549-AABF-4D73-9A8B-37EBF8EF116C}" type="pres">
      <dgm:prSet presAssocID="{7671B5D7-6326-4F5B-A653-3CAF4F85C317}" presName="hierRoot2" presStyleCnt="0">
        <dgm:presLayoutVars>
          <dgm:hierBranch val="init"/>
        </dgm:presLayoutVars>
      </dgm:prSet>
      <dgm:spPr/>
    </dgm:pt>
    <dgm:pt modelId="{3415D6A5-33D8-42A5-AD9D-A1E1F4776985}" type="pres">
      <dgm:prSet presAssocID="{7671B5D7-6326-4F5B-A653-3CAF4F85C317}" presName="rootComposite" presStyleCnt="0"/>
      <dgm:spPr/>
    </dgm:pt>
    <dgm:pt modelId="{F262B25E-D781-4D44-82CD-CC9D501578F2}" type="pres">
      <dgm:prSet presAssocID="{7671B5D7-6326-4F5B-A653-3CAF4F85C317}" presName="rootText" presStyleLbl="node4" presStyleIdx="2" presStyleCnt="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04D762D-C028-4DB9-B788-4204A181D9A3}" type="pres">
      <dgm:prSet presAssocID="{7671B5D7-6326-4F5B-A653-3CAF4F85C317}" presName="rootConnector" presStyleLbl="node4" presStyleIdx="2" presStyleCnt="9"/>
      <dgm:spPr/>
      <dgm:t>
        <a:bodyPr/>
        <a:lstStyle/>
        <a:p>
          <a:endParaRPr lang="en-US"/>
        </a:p>
      </dgm:t>
    </dgm:pt>
    <dgm:pt modelId="{2FEEEB36-A297-473C-B198-562323531387}" type="pres">
      <dgm:prSet presAssocID="{7671B5D7-6326-4F5B-A653-3CAF4F85C317}" presName="hierChild4" presStyleCnt="0"/>
      <dgm:spPr/>
    </dgm:pt>
    <dgm:pt modelId="{A33A5E1E-951D-4041-9E5F-120E0E95505E}" type="pres">
      <dgm:prSet presAssocID="{7671B5D7-6326-4F5B-A653-3CAF4F85C317}" presName="hierChild5" presStyleCnt="0"/>
      <dgm:spPr/>
    </dgm:pt>
    <dgm:pt modelId="{610B7A79-132C-4674-BEC6-DB17C8FE71CA}" type="pres">
      <dgm:prSet presAssocID="{9C6E6B69-2180-480A-A2A4-BBF946CFBF3C}" presName="Name37" presStyleLbl="parChTrans1D4" presStyleIdx="3" presStyleCnt="9"/>
      <dgm:spPr/>
      <dgm:t>
        <a:bodyPr/>
        <a:lstStyle/>
        <a:p>
          <a:endParaRPr lang="en-US"/>
        </a:p>
      </dgm:t>
    </dgm:pt>
    <dgm:pt modelId="{EFF9300A-F41C-447E-9B35-8848F9226025}" type="pres">
      <dgm:prSet presAssocID="{3120464E-6024-475A-B833-ED05EB9364F6}" presName="hierRoot2" presStyleCnt="0">
        <dgm:presLayoutVars>
          <dgm:hierBranch val="init"/>
        </dgm:presLayoutVars>
      </dgm:prSet>
      <dgm:spPr/>
    </dgm:pt>
    <dgm:pt modelId="{586FCB4C-1C23-4C55-A4FC-2B9CB27DA8D2}" type="pres">
      <dgm:prSet presAssocID="{3120464E-6024-475A-B833-ED05EB9364F6}" presName="rootComposite" presStyleCnt="0"/>
      <dgm:spPr/>
    </dgm:pt>
    <dgm:pt modelId="{1B48FE02-8066-4510-AB7C-F56BD51BDF4B}" type="pres">
      <dgm:prSet presAssocID="{3120464E-6024-475A-B833-ED05EB9364F6}" presName="rootText" presStyleLbl="node4" presStyleIdx="3" presStyleCnt="9" custScaleY="15093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175C515-C5ED-4B79-BB93-B05E49C0C9B4}" type="pres">
      <dgm:prSet presAssocID="{3120464E-6024-475A-B833-ED05EB9364F6}" presName="rootConnector" presStyleLbl="node4" presStyleIdx="3" presStyleCnt="9"/>
      <dgm:spPr/>
      <dgm:t>
        <a:bodyPr/>
        <a:lstStyle/>
        <a:p>
          <a:endParaRPr lang="en-US"/>
        </a:p>
      </dgm:t>
    </dgm:pt>
    <dgm:pt modelId="{79FB3EC3-D2A3-4A0E-86AC-9457964357E2}" type="pres">
      <dgm:prSet presAssocID="{3120464E-6024-475A-B833-ED05EB9364F6}" presName="hierChild4" presStyleCnt="0"/>
      <dgm:spPr/>
    </dgm:pt>
    <dgm:pt modelId="{7A17123B-F7FA-4082-897A-3A81A00B25F8}" type="pres">
      <dgm:prSet presAssocID="{3120464E-6024-475A-B833-ED05EB9364F6}" presName="hierChild5" presStyleCnt="0"/>
      <dgm:spPr/>
    </dgm:pt>
    <dgm:pt modelId="{7A919AB5-DA74-427B-B2CE-A7E19C5F2F89}" type="pres">
      <dgm:prSet presAssocID="{E4F26A9D-442B-4CF3-B8A7-61AD103578AA}" presName="hierChild5" presStyleCnt="0"/>
      <dgm:spPr/>
    </dgm:pt>
    <dgm:pt modelId="{4C90B3C0-311B-4985-BF2C-4868A2BA2053}" type="pres">
      <dgm:prSet presAssocID="{5C8FC595-5907-4E6D-A000-F6203E0A6DB2}" presName="Name37" presStyleLbl="parChTrans1D3" presStyleIdx="2" presStyleCnt="8"/>
      <dgm:spPr/>
      <dgm:t>
        <a:bodyPr/>
        <a:lstStyle/>
        <a:p>
          <a:endParaRPr lang="en-US"/>
        </a:p>
      </dgm:t>
    </dgm:pt>
    <dgm:pt modelId="{25704ECB-93D8-4AAC-B943-6E7B88880350}" type="pres">
      <dgm:prSet presAssocID="{F0813E2C-4806-4C65-8B5D-B3CAA55AB4B6}" presName="hierRoot2" presStyleCnt="0">
        <dgm:presLayoutVars>
          <dgm:hierBranch val="init"/>
        </dgm:presLayoutVars>
      </dgm:prSet>
      <dgm:spPr/>
    </dgm:pt>
    <dgm:pt modelId="{1F5B4E8F-4078-402B-8BF9-03AF95F29C06}" type="pres">
      <dgm:prSet presAssocID="{F0813E2C-4806-4C65-8B5D-B3CAA55AB4B6}" presName="rootComposite" presStyleCnt="0"/>
      <dgm:spPr/>
    </dgm:pt>
    <dgm:pt modelId="{7E66F63D-8FA6-42BB-A62A-C349B7EA69C6}" type="pres">
      <dgm:prSet presAssocID="{F0813E2C-4806-4C65-8B5D-B3CAA55AB4B6}" presName="rootText" presStyleLbl="node3" presStyleIdx="2" presStyleCnt="8" custScaleY="15491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C10B860-36A0-4961-8079-9E6BE51EC74E}" type="pres">
      <dgm:prSet presAssocID="{F0813E2C-4806-4C65-8B5D-B3CAA55AB4B6}" presName="rootConnector" presStyleLbl="node3" presStyleIdx="2" presStyleCnt="8"/>
      <dgm:spPr/>
      <dgm:t>
        <a:bodyPr/>
        <a:lstStyle/>
        <a:p>
          <a:endParaRPr lang="en-US"/>
        </a:p>
      </dgm:t>
    </dgm:pt>
    <dgm:pt modelId="{A346BA09-C0FB-44FE-94ED-E84F1458A182}" type="pres">
      <dgm:prSet presAssocID="{F0813E2C-4806-4C65-8B5D-B3CAA55AB4B6}" presName="hierChild4" presStyleCnt="0"/>
      <dgm:spPr/>
    </dgm:pt>
    <dgm:pt modelId="{3BCCE23A-CC94-4B5F-B13D-CB73BFAE0403}" type="pres">
      <dgm:prSet presAssocID="{4ED415F9-59B2-4644-8650-A4A52C08AAF1}" presName="Name37" presStyleLbl="parChTrans1D4" presStyleIdx="4" presStyleCnt="9"/>
      <dgm:spPr/>
      <dgm:t>
        <a:bodyPr/>
        <a:lstStyle/>
        <a:p>
          <a:endParaRPr lang="en-US"/>
        </a:p>
      </dgm:t>
    </dgm:pt>
    <dgm:pt modelId="{DD13E5E2-1B9C-48EC-990C-B31E25E119BE}" type="pres">
      <dgm:prSet presAssocID="{2024CE07-0840-4AFA-A285-8A332F9F0084}" presName="hierRoot2" presStyleCnt="0">
        <dgm:presLayoutVars>
          <dgm:hierBranch val="init"/>
        </dgm:presLayoutVars>
      </dgm:prSet>
      <dgm:spPr/>
    </dgm:pt>
    <dgm:pt modelId="{93488B8D-5BB0-4299-8DA0-2B61FC1C7E27}" type="pres">
      <dgm:prSet presAssocID="{2024CE07-0840-4AFA-A285-8A332F9F0084}" presName="rootComposite" presStyleCnt="0"/>
      <dgm:spPr/>
    </dgm:pt>
    <dgm:pt modelId="{A45277E3-0420-4505-9B32-E8C33D91C7D0}" type="pres">
      <dgm:prSet presAssocID="{2024CE07-0840-4AFA-A285-8A332F9F0084}" presName="rootText" presStyleLbl="node4" presStyleIdx="4" presStyleCnt="9" custScaleX="81815" custScaleY="15491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78837BE-515B-4E24-ACD3-D8817605E4AB}" type="pres">
      <dgm:prSet presAssocID="{2024CE07-0840-4AFA-A285-8A332F9F0084}" presName="rootConnector" presStyleLbl="node4" presStyleIdx="4" presStyleCnt="9"/>
      <dgm:spPr/>
      <dgm:t>
        <a:bodyPr/>
        <a:lstStyle/>
        <a:p>
          <a:endParaRPr lang="en-US"/>
        </a:p>
      </dgm:t>
    </dgm:pt>
    <dgm:pt modelId="{ABB5CCF0-7395-4275-BC58-78BEDCAA79DD}" type="pres">
      <dgm:prSet presAssocID="{2024CE07-0840-4AFA-A285-8A332F9F0084}" presName="hierChild4" presStyleCnt="0"/>
      <dgm:spPr/>
    </dgm:pt>
    <dgm:pt modelId="{F3540024-B84F-40BC-B39D-B662F19D393D}" type="pres">
      <dgm:prSet presAssocID="{2024CE07-0840-4AFA-A285-8A332F9F0084}" presName="hierChild5" presStyleCnt="0"/>
      <dgm:spPr/>
    </dgm:pt>
    <dgm:pt modelId="{B02AF2FA-B901-4EBD-A0F4-874AF10956EF}" type="pres">
      <dgm:prSet presAssocID="{17043636-82E3-4A58-BD54-255DAE385AA4}" presName="Name37" presStyleLbl="parChTrans1D4" presStyleIdx="5" presStyleCnt="9"/>
      <dgm:spPr/>
      <dgm:t>
        <a:bodyPr/>
        <a:lstStyle/>
        <a:p>
          <a:endParaRPr lang="en-US"/>
        </a:p>
      </dgm:t>
    </dgm:pt>
    <dgm:pt modelId="{72CDDCAC-BB36-4AAE-B3BF-1B846EA96B34}" type="pres">
      <dgm:prSet presAssocID="{7ACFD0D1-A2F7-4D8B-B016-D6307FF6BC97}" presName="hierRoot2" presStyleCnt="0">
        <dgm:presLayoutVars>
          <dgm:hierBranch val="init"/>
        </dgm:presLayoutVars>
      </dgm:prSet>
      <dgm:spPr/>
    </dgm:pt>
    <dgm:pt modelId="{31FBD8F7-91CD-43D0-BAA1-D10C1D1BCFB7}" type="pres">
      <dgm:prSet presAssocID="{7ACFD0D1-A2F7-4D8B-B016-D6307FF6BC97}" presName="rootComposite" presStyleCnt="0"/>
      <dgm:spPr/>
    </dgm:pt>
    <dgm:pt modelId="{619A917E-2FE0-4D54-B500-A6523829D53A}" type="pres">
      <dgm:prSet presAssocID="{7ACFD0D1-A2F7-4D8B-B016-D6307FF6BC97}" presName="rootText" presStyleLbl="node4" presStyleIdx="5" presStyleCnt="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F899FC6-68C7-4D71-8AE0-335BD5724311}" type="pres">
      <dgm:prSet presAssocID="{7ACFD0D1-A2F7-4D8B-B016-D6307FF6BC97}" presName="rootConnector" presStyleLbl="node4" presStyleIdx="5" presStyleCnt="9"/>
      <dgm:spPr/>
      <dgm:t>
        <a:bodyPr/>
        <a:lstStyle/>
        <a:p>
          <a:endParaRPr lang="en-US"/>
        </a:p>
      </dgm:t>
    </dgm:pt>
    <dgm:pt modelId="{FD127D19-4418-4D3A-BC7A-07E55F66BE31}" type="pres">
      <dgm:prSet presAssocID="{7ACFD0D1-A2F7-4D8B-B016-D6307FF6BC97}" presName="hierChild4" presStyleCnt="0"/>
      <dgm:spPr/>
    </dgm:pt>
    <dgm:pt modelId="{D642D2B4-3B37-47B7-9C6D-BEC85B949A6B}" type="pres">
      <dgm:prSet presAssocID="{7ACFD0D1-A2F7-4D8B-B016-D6307FF6BC97}" presName="hierChild5" presStyleCnt="0"/>
      <dgm:spPr/>
    </dgm:pt>
    <dgm:pt modelId="{53FCCA26-0AD4-4E48-8CE6-79774A255829}" type="pres">
      <dgm:prSet presAssocID="{F0813E2C-4806-4C65-8B5D-B3CAA55AB4B6}" presName="hierChild5" presStyleCnt="0"/>
      <dgm:spPr/>
    </dgm:pt>
    <dgm:pt modelId="{5547612A-B87B-4711-B96B-893E928EC160}" type="pres">
      <dgm:prSet presAssocID="{F71B3521-3C56-4052-BCD1-EA1D3EC6C481}" presName="hierChild5" presStyleCnt="0"/>
      <dgm:spPr/>
    </dgm:pt>
    <dgm:pt modelId="{F43736C3-DC97-41E9-A92D-0C87CF3D4CE0}" type="pres">
      <dgm:prSet presAssocID="{BBB07DC0-FEB0-41A7-994C-B6C0577FD4BB}" presName="Name37" presStyleLbl="parChTrans1D2" presStyleIdx="1" presStyleCnt="3"/>
      <dgm:spPr/>
      <dgm:t>
        <a:bodyPr/>
        <a:lstStyle/>
        <a:p>
          <a:endParaRPr lang="en-US"/>
        </a:p>
      </dgm:t>
    </dgm:pt>
    <dgm:pt modelId="{BED3E687-68AB-403D-B426-F32C7E996598}" type="pres">
      <dgm:prSet presAssocID="{94FACFF2-580F-4E03-A72E-6A78D3F61A0D}" presName="hierRoot2" presStyleCnt="0">
        <dgm:presLayoutVars>
          <dgm:hierBranch val="init"/>
        </dgm:presLayoutVars>
      </dgm:prSet>
      <dgm:spPr/>
    </dgm:pt>
    <dgm:pt modelId="{74761613-E4D7-4D7F-B11A-FA9A8563FEDB}" type="pres">
      <dgm:prSet presAssocID="{94FACFF2-580F-4E03-A72E-6A78D3F61A0D}" presName="rootComposite" presStyleCnt="0"/>
      <dgm:spPr/>
    </dgm:pt>
    <dgm:pt modelId="{8C3924C6-95D7-4CDA-A998-F6CD342F1665}" type="pres">
      <dgm:prSet presAssocID="{94FACFF2-580F-4E03-A72E-6A78D3F61A0D}" presName="rootText" presStyleLbl="node2" presStyleIdx="1" presStyleCnt="3" custScaleX="11677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76FD241-CC1D-4310-89BD-442A5810C12B}" type="pres">
      <dgm:prSet presAssocID="{94FACFF2-580F-4E03-A72E-6A78D3F61A0D}" presName="rootConnector" presStyleLbl="node2" presStyleIdx="1" presStyleCnt="3"/>
      <dgm:spPr/>
      <dgm:t>
        <a:bodyPr/>
        <a:lstStyle/>
        <a:p>
          <a:endParaRPr lang="en-US"/>
        </a:p>
      </dgm:t>
    </dgm:pt>
    <dgm:pt modelId="{9D6BDA83-545E-4F18-B532-2B1183EDC461}" type="pres">
      <dgm:prSet presAssocID="{94FACFF2-580F-4E03-A72E-6A78D3F61A0D}" presName="hierChild4" presStyleCnt="0"/>
      <dgm:spPr/>
    </dgm:pt>
    <dgm:pt modelId="{03B7BB75-3081-4A5F-AE84-D0A5017A250E}" type="pres">
      <dgm:prSet presAssocID="{D0A1B840-787D-4ED8-9FA8-82EFBF4A16ED}" presName="Name37" presStyleLbl="parChTrans1D3" presStyleIdx="3" presStyleCnt="8"/>
      <dgm:spPr/>
      <dgm:t>
        <a:bodyPr/>
        <a:lstStyle/>
        <a:p>
          <a:endParaRPr lang="en-US"/>
        </a:p>
      </dgm:t>
    </dgm:pt>
    <dgm:pt modelId="{AAE82C01-9B1E-4BDB-9AA6-F49DF2A6D565}" type="pres">
      <dgm:prSet presAssocID="{930425C0-40A6-483D-B20A-ADF47FECA268}" presName="hierRoot2" presStyleCnt="0">
        <dgm:presLayoutVars>
          <dgm:hierBranch val="init"/>
        </dgm:presLayoutVars>
      </dgm:prSet>
      <dgm:spPr/>
    </dgm:pt>
    <dgm:pt modelId="{789F8C9E-6D9D-4A5F-B33E-CF2CDDC0FE07}" type="pres">
      <dgm:prSet presAssocID="{930425C0-40A6-483D-B20A-ADF47FECA268}" presName="rootComposite" presStyleCnt="0"/>
      <dgm:spPr/>
    </dgm:pt>
    <dgm:pt modelId="{5677D944-029C-484C-80A5-13BC10A104E4}" type="pres">
      <dgm:prSet presAssocID="{930425C0-40A6-483D-B20A-ADF47FECA268}" presName="rootText" presStyleLbl="node3" presStyleIdx="3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ED8561A-5A8E-4CBE-8FC6-607A83CFC3C4}" type="pres">
      <dgm:prSet presAssocID="{930425C0-40A6-483D-B20A-ADF47FECA268}" presName="rootConnector" presStyleLbl="node3" presStyleIdx="3" presStyleCnt="8"/>
      <dgm:spPr/>
      <dgm:t>
        <a:bodyPr/>
        <a:lstStyle/>
        <a:p>
          <a:endParaRPr lang="en-US"/>
        </a:p>
      </dgm:t>
    </dgm:pt>
    <dgm:pt modelId="{3831CA35-AD51-4A69-83E3-FF0577D16A5E}" type="pres">
      <dgm:prSet presAssocID="{930425C0-40A6-483D-B20A-ADF47FECA268}" presName="hierChild4" presStyleCnt="0"/>
      <dgm:spPr/>
    </dgm:pt>
    <dgm:pt modelId="{82A76FF6-95A5-4DEA-B163-853D1B7CC810}" type="pres">
      <dgm:prSet presAssocID="{930425C0-40A6-483D-B20A-ADF47FECA268}" presName="hierChild5" presStyleCnt="0"/>
      <dgm:spPr/>
    </dgm:pt>
    <dgm:pt modelId="{F0E31743-868F-406B-876C-6B11BD573394}" type="pres">
      <dgm:prSet presAssocID="{AC66B097-9A77-4B4E-88EB-CCA6711BE3A9}" presName="Name37" presStyleLbl="parChTrans1D3" presStyleIdx="4" presStyleCnt="8"/>
      <dgm:spPr/>
      <dgm:t>
        <a:bodyPr/>
        <a:lstStyle/>
        <a:p>
          <a:endParaRPr lang="en-US"/>
        </a:p>
      </dgm:t>
    </dgm:pt>
    <dgm:pt modelId="{E6309739-1F4D-4497-827A-E880C3DCA78F}" type="pres">
      <dgm:prSet presAssocID="{1026319C-D65E-47DE-B68C-CB11FC289573}" presName="hierRoot2" presStyleCnt="0">
        <dgm:presLayoutVars>
          <dgm:hierBranch val="init"/>
        </dgm:presLayoutVars>
      </dgm:prSet>
      <dgm:spPr/>
    </dgm:pt>
    <dgm:pt modelId="{66E01AAD-E40B-443E-A412-2B238AC2E416}" type="pres">
      <dgm:prSet presAssocID="{1026319C-D65E-47DE-B68C-CB11FC289573}" presName="rootComposite" presStyleCnt="0"/>
      <dgm:spPr/>
    </dgm:pt>
    <dgm:pt modelId="{B29D70E0-3C5F-46EB-8055-DA38CAFC89E3}" type="pres">
      <dgm:prSet presAssocID="{1026319C-D65E-47DE-B68C-CB11FC289573}" presName="rootText" presStyleLbl="node3" presStyleIdx="4" presStyleCnt="8" custScaleX="113727" custScaleY="24237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816DE47-4E45-46F7-8F85-34A9EBE7EE9B}" type="pres">
      <dgm:prSet presAssocID="{1026319C-D65E-47DE-B68C-CB11FC289573}" presName="rootConnector" presStyleLbl="node3" presStyleIdx="4" presStyleCnt="8"/>
      <dgm:spPr/>
      <dgm:t>
        <a:bodyPr/>
        <a:lstStyle/>
        <a:p>
          <a:endParaRPr lang="en-US"/>
        </a:p>
      </dgm:t>
    </dgm:pt>
    <dgm:pt modelId="{6DF654DC-2FE0-4E06-B768-981E5096B814}" type="pres">
      <dgm:prSet presAssocID="{1026319C-D65E-47DE-B68C-CB11FC289573}" presName="hierChild4" presStyleCnt="0"/>
      <dgm:spPr/>
    </dgm:pt>
    <dgm:pt modelId="{0EDBE25F-D8CF-4E86-A4A2-A241FF863533}" type="pres">
      <dgm:prSet presAssocID="{1026319C-D65E-47DE-B68C-CB11FC289573}" presName="hierChild5" presStyleCnt="0"/>
      <dgm:spPr/>
    </dgm:pt>
    <dgm:pt modelId="{2A7675F5-2BBC-4E57-B900-715F59D6F9D8}" type="pres">
      <dgm:prSet presAssocID="{E66D0E20-5C3D-409D-809A-AF9EF574822C}" presName="Name37" presStyleLbl="parChTrans1D3" presStyleIdx="5" presStyleCnt="8"/>
      <dgm:spPr/>
      <dgm:t>
        <a:bodyPr/>
        <a:lstStyle/>
        <a:p>
          <a:endParaRPr lang="en-US"/>
        </a:p>
      </dgm:t>
    </dgm:pt>
    <dgm:pt modelId="{A634CCD9-7842-43F4-ADA7-3C411BE8E635}" type="pres">
      <dgm:prSet presAssocID="{B814C49C-8DAB-46CD-88C0-98D4B1FCF628}" presName="hierRoot2" presStyleCnt="0">
        <dgm:presLayoutVars>
          <dgm:hierBranch val="init"/>
        </dgm:presLayoutVars>
      </dgm:prSet>
      <dgm:spPr/>
    </dgm:pt>
    <dgm:pt modelId="{A4BA754F-913A-4181-ADB5-181FB8C05FF8}" type="pres">
      <dgm:prSet presAssocID="{B814C49C-8DAB-46CD-88C0-98D4B1FCF628}" presName="rootComposite" presStyleCnt="0"/>
      <dgm:spPr/>
    </dgm:pt>
    <dgm:pt modelId="{313ED6A2-462B-4141-834D-9A74299512E5}" type="pres">
      <dgm:prSet presAssocID="{B814C49C-8DAB-46CD-88C0-98D4B1FCF628}" presName="rootText" presStyleLbl="node3" presStyleIdx="5" presStyleCnt="8" custLinFactNeighborY="3781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3E8E9C7-25A4-4E24-9CA9-CB63D43604DC}" type="pres">
      <dgm:prSet presAssocID="{B814C49C-8DAB-46CD-88C0-98D4B1FCF628}" presName="rootConnector" presStyleLbl="node3" presStyleIdx="5" presStyleCnt="8"/>
      <dgm:spPr/>
      <dgm:t>
        <a:bodyPr/>
        <a:lstStyle/>
        <a:p>
          <a:endParaRPr lang="en-US"/>
        </a:p>
      </dgm:t>
    </dgm:pt>
    <dgm:pt modelId="{78F9D844-8FE7-41F6-8F3A-CF84557DC90F}" type="pres">
      <dgm:prSet presAssocID="{B814C49C-8DAB-46CD-88C0-98D4B1FCF628}" presName="hierChild4" presStyleCnt="0"/>
      <dgm:spPr/>
    </dgm:pt>
    <dgm:pt modelId="{6949C889-9FDE-4745-9E32-1FB0017B7EB5}" type="pres">
      <dgm:prSet presAssocID="{B814C49C-8DAB-46CD-88C0-98D4B1FCF628}" presName="hierChild5" presStyleCnt="0"/>
      <dgm:spPr/>
    </dgm:pt>
    <dgm:pt modelId="{5616E69B-D4D1-4D6E-9D00-2C6F18F25F19}" type="pres">
      <dgm:prSet presAssocID="{94FACFF2-580F-4E03-A72E-6A78D3F61A0D}" presName="hierChild5" presStyleCnt="0"/>
      <dgm:spPr/>
    </dgm:pt>
    <dgm:pt modelId="{5F082D60-CC48-413C-8900-CCAAFA96DCD6}" type="pres">
      <dgm:prSet presAssocID="{5E6F2279-1A64-4664-9BDB-D1E6E052C3CB}" presName="Name37" presStyleLbl="parChTrans1D2" presStyleIdx="2" presStyleCnt="3"/>
      <dgm:spPr/>
      <dgm:t>
        <a:bodyPr/>
        <a:lstStyle/>
        <a:p>
          <a:endParaRPr lang="en-US"/>
        </a:p>
      </dgm:t>
    </dgm:pt>
    <dgm:pt modelId="{04EC3DAB-18E8-4156-B8E4-4C59A7143B86}" type="pres">
      <dgm:prSet presAssocID="{2CDD2A35-444D-4D71-92BA-C8B34D8CA909}" presName="hierRoot2" presStyleCnt="0">
        <dgm:presLayoutVars>
          <dgm:hierBranch val="init"/>
        </dgm:presLayoutVars>
      </dgm:prSet>
      <dgm:spPr/>
    </dgm:pt>
    <dgm:pt modelId="{8E6DCB4B-A124-4449-B56C-9A28D31B941E}" type="pres">
      <dgm:prSet presAssocID="{2CDD2A35-444D-4D71-92BA-C8B34D8CA909}" presName="rootComposite" presStyleCnt="0"/>
      <dgm:spPr/>
    </dgm:pt>
    <dgm:pt modelId="{FB8A078E-B2AD-4CEF-B649-EE1D8B296623}" type="pres">
      <dgm:prSet presAssocID="{2CDD2A35-444D-4D71-92BA-C8B34D8CA909}" presName="rootText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6CDEAD0-CEC9-44F0-B32C-36EE4AF57253}" type="pres">
      <dgm:prSet presAssocID="{2CDD2A35-444D-4D71-92BA-C8B34D8CA909}" presName="rootConnector" presStyleLbl="node2" presStyleIdx="2" presStyleCnt="3"/>
      <dgm:spPr/>
      <dgm:t>
        <a:bodyPr/>
        <a:lstStyle/>
        <a:p>
          <a:endParaRPr lang="en-US"/>
        </a:p>
      </dgm:t>
    </dgm:pt>
    <dgm:pt modelId="{14C75AB6-196D-4B11-ADB5-CBA632972A58}" type="pres">
      <dgm:prSet presAssocID="{2CDD2A35-444D-4D71-92BA-C8B34D8CA909}" presName="hierChild4" presStyleCnt="0"/>
      <dgm:spPr/>
    </dgm:pt>
    <dgm:pt modelId="{374A45A3-F760-4C0A-96C3-EA44E0B95103}" type="pres">
      <dgm:prSet presAssocID="{68FFA976-AE26-4683-8AEF-A4906C549929}" presName="Name37" presStyleLbl="parChTrans1D3" presStyleIdx="6" presStyleCnt="8"/>
      <dgm:spPr/>
      <dgm:t>
        <a:bodyPr/>
        <a:lstStyle/>
        <a:p>
          <a:endParaRPr lang="en-US"/>
        </a:p>
      </dgm:t>
    </dgm:pt>
    <dgm:pt modelId="{B38A7F84-4BFD-4C12-8AD6-B8057318B1AB}" type="pres">
      <dgm:prSet presAssocID="{4BFE5450-8F82-4A26-8FDF-DF7A6C482BF7}" presName="hierRoot2" presStyleCnt="0">
        <dgm:presLayoutVars>
          <dgm:hierBranch val="init"/>
        </dgm:presLayoutVars>
      </dgm:prSet>
      <dgm:spPr/>
    </dgm:pt>
    <dgm:pt modelId="{09539B0C-DD06-4B17-AD06-E1388041201E}" type="pres">
      <dgm:prSet presAssocID="{4BFE5450-8F82-4A26-8FDF-DF7A6C482BF7}" presName="rootComposite" presStyleCnt="0"/>
      <dgm:spPr/>
    </dgm:pt>
    <dgm:pt modelId="{5EF3B480-E935-4555-B3CF-B0EEC2DD1246}" type="pres">
      <dgm:prSet presAssocID="{4BFE5450-8F82-4A26-8FDF-DF7A6C482BF7}" presName="rootText" presStyleLbl="node3" presStyleIdx="6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DDDFF92-DBE7-4D93-B07E-41CBE5E88BAD}" type="pres">
      <dgm:prSet presAssocID="{4BFE5450-8F82-4A26-8FDF-DF7A6C482BF7}" presName="rootConnector" presStyleLbl="node3" presStyleIdx="6" presStyleCnt="8"/>
      <dgm:spPr/>
      <dgm:t>
        <a:bodyPr/>
        <a:lstStyle/>
        <a:p>
          <a:endParaRPr lang="en-US"/>
        </a:p>
      </dgm:t>
    </dgm:pt>
    <dgm:pt modelId="{D4F44F7A-5848-4FC9-842E-D2E4AA036C94}" type="pres">
      <dgm:prSet presAssocID="{4BFE5450-8F82-4A26-8FDF-DF7A6C482BF7}" presName="hierChild4" presStyleCnt="0"/>
      <dgm:spPr/>
    </dgm:pt>
    <dgm:pt modelId="{D7807BFB-2334-4967-A9DF-396281E8F386}" type="pres">
      <dgm:prSet presAssocID="{4BFE5450-8F82-4A26-8FDF-DF7A6C482BF7}" presName="hierChild5" presStyleCnt="0"/>
      <dgm:spPr/>
    </dgm:pt>
    <dgm:pt modelId="{859C8F32-68AE-41D1-8F21-AF2ADD282176}" type="pres">
      <dgm:prSet presAssocID="{37569E72-FE62-463B-985A-434A9B88A922}" presName="Name37" presStyleLbl="parChTrans1D3" presStyleIdx="7" presStyleCnt="8"/>
      <dgm:spPr/>
      <dgm:t>
        <a:bodyPr/>
        <a:lstStyle/>
        <a:p>
          <a:endParaRPr lang="en-US"/>
        </a:p>
      </dgm:t>
    </dgm:pt>
    <dgm:pt modelId="{BFF9784B-3E0A-4CF9-BE9C-FC010035E70C}" type="pres">
      <dgm:prSet presAssocID="{E153FD2F-958B-4501-A714-C375DBAA7B73}" presName="hierRoot2" presStyleCnt="0">
        <dgm:presLayoutVars>
          <dgm:hierBranch val="init"/>
        </dgm:presLayoutVars>
      </dgm:prSet>
      <dgm:spPr/>
    </dgm:pt>
    <dgm:pt modelId="{915A9CAB-388D-4A5A-A5CB-8F9551952D93}" type="pres">
      <dgm:prSet presAssocID="{E153FD2F-958B-4501-A714-C375DBAA7B73}" presName="rootComposite" presStyleCnt="0"/>
      <dgm:spPr/>
    </dgm:pt>
    <dgm:pt modelId="{A58FAC38-F844-4ED7-8E05-301D65C37F2F}" type="pres">
      <dgm:prSet presAssocID="{E153FD2F-958B-4501-A714-C375DBAA7B73}" presName="rootText" presStyleLbl="node3" presStyleIdx="7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A49625A-EA0D-4080-8F6A-1E53C4CB449C}" type="pres">
      <dgm:prSet presAssocID="{E153FD2F-958B-4501-A714-C375DBAA7B73}" presName="rootConnector" presStyleLbl="node3" presStyleIdx="7" presStyleCnt="8"/>
      <dgm:spPr/>
      <dgm:t>
        <a:bodyPr/>
        <a:lstStyle/>
        <a:p>
          <a:endParaRPr lang="en-US"/>
        </a:p>
      </dgm:t>
    </dgm:pt>
    <dgm:pt modelId="{AC26EC8E-592A-478E-A060-5EE3D973AA4C}" type="pres">
      <dgm:prSet presAssocID="{E153FD2F-958B-4501-A714-C375DBAA7B73}" presName="hierChild4" presStyleCnt="0"/>
      <dgm:spPr/>
    </dgm:pt>
    <dgm:pt modelId="{AAF14733-7772-4221-A3F0-B49E68B56A28}" type="pres">
      <dgm:prSet presAssocID="{1B74D045-C566-437F-BAD9-2E5044FD5BC2}" presName="Name37" presStyleLbl="parChTrans1D4" presStyleIdx="6" presStyleCnt="9"/>
      <dgm:spPr/>
      <dgm:t>
        <a:bodyPr/>
        <a:lstStyle/>
        <a:p>
          <a:endParaRPr lang="en-US"/>
        </a:p>
      </dgm:t>
    </dgm:pt>
    <dgm:pt modelId="{FFB51502-1036-4630-8505-3997E874DD93}" type="pres">
      <dgm:prSet presAssocID="{2200EFBE-E51B-40A8-A3E2-1D0324F302C7}" presName="hierRoot2" presStyleCnt="0">
        <dgm:presLayoutVars>
          <dgm:hierBranch val="init"/>
        </dgm:presLayoutVars>
      </dgm:prSet>
      <dgm:spPr/>
    </dgm:pt>
    <dgm:pt modelId="{C43C2852-48E8-4A5E-AD4E-EE7E64E812EB}" type="pres">
      <dgm:prSet presAssocID="{2200EFBE-E51B-40A8-A3E2-1D0324F302C7}" presName="rootComposite" presStyleCnt="0"/>
      <dgm:spPr/>
    </dgm:pt>
    <dgm:pt modelId="{25C1F27A-1E2D-4892-BB4F-57A7E4F11EDF}" type="pres">
      <dgm:prSet presAssocID="{2200EFBE-E51B-40A8-A3E2-1D0324F302C7}" presName="rootText" presStyleLbl="node4" presStyleIdx="6" presStyleCnt="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F1B4D46-6B4C-4E13-87A0-8C66A3638BAA}" type="pres">
      <dgm:prSet presAssocID="{2200EFBE-E51B-40A8-A3E2-1D0324F302C7}" presName="rootConnector" presStyleLbl="node4" presStyleIdx="6" presStyleCnt="9"/>
      <dgm:spPr/>
      <dgm:t>
        <a:bodyPr/>
        <a:lstStyle/>
        <a:p>
          <a:endParaRPr lang="en-US"/>
        </a:p>
      </dgm:t>
    </dgm:pt>
    <dgm:pt modelId="{65966E55-D924-4D7D-A156-54B39C3F9ED4}" type="pres">
      <dgm:prSet presAssocID="{2200EFBE-E51B-40A8-A3E2-1D0324F302C7}" presName="hierChild4" presStyleCnt="0"/>
      <dgm:spPr/>
    </dgm:pt>
    <dgm:pt modelId="{ACDB778C-B25A-4EEF-B245-0515846336BF}" type="pres">
      <dgm:prSet presAssocID="{2200EFBE-E51B-40A8-A3E2-1D0324F302C7}" presName="hierChild5" presStyleCnt="0"/>
      <dgm:spPr/>
    </dgm:pt>
    <dgm:pt modelId="{B6489E13-5EBB-46EA-BAD7-DF8FF1BD9538}" type="pres">
      <dgm:prSet presAssocID="{0F371CAE-D9D2-46D9-8B94-DA36E13C6AD2}" presName="Name37" presStyleLbl="parChTrans1D4" presStyleIdx="7" presStyleCnt="9"/>
      <dgm:spPr/>
      <dgm:t>
        <a:bodyPr/>
        <a:lstStyle/>
        <a:p>
          <a:endParaRPr lang="en-US"/>
        </a:p>
      </dgm:t>
    </dgm:pt>
    <dgm:pt modelId="{A688714A-BC39-42F4-9BFE-238E07F857B5}" type="pres">
      <dgm:prSet presAssocID="{DF1F2610-331D-40FA-BF9D-6EDF9EFE51A9}" presName="hierRoot2" presStyleCnt="0">
        <dgm:presLayoutVars>
          <dgm:hierBranch val="init"/>
        </dgm:presLayoutVars>
      </dgm:prSet>
      <dgm:spPr/>
    </dgm:pt>
    <dgm:pt modelId="{EDDFF759-A286-4F50-AB2C-988002415CB9}" type="pres">
      <dgm:prSet presAssocID="{DF1F2610-331D-40FA-BF9D-6EDF9EFE51A9}" presName="rootComposite" presStyleCnt="0"/>
      <dgm:spPr/>
    </dgm:pt>
    <dgm:pt modelId="{DD7130DD-593A-4323-998D-55A96692D1AD}" type="pres">
      <dgm:prSet presAssocID="{DF1F2610-331D-40FA-BF9D-6EDF9EFE51A9}" presName="rootText" presStyleLbl="node4" presStyleIdx="7" presStyleCnt="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C79A65C-021F-416B-8170-45C80F66D6E8}" type="pres">
      <dgm:prSet presAssocID="{DF1F2610-331D-40FA-BF9D-6EDF9EFE51A9}" presName="rootConnector" presStyleLbl="node4" presStyleIdx="7" presStyleCnt="9"/>
      <dgm:spPr/>
      <dgm:t>
        <a:bodyPr/>
        <a:lstStyle/>
        <a:p>
          <a:endParaRPr lang="en-US"/>
        </a:p>
      </dgm:t>
    </dgm:pt>
    <dgm:pt modelId="{1C655490-F002-4360-9641-2D59473C0E16}" type="pres">
      <dgm:prSet presAssocID="{DF1F2610-331D-40FA-BF9D-6EDF9EFE51A9}" presName="hierChild4" presStyleCnt="0"/>
      <dgm:spPr/>
    </dgm:pt>
    <dgm:pt modelId="{887821ED-2E3D-4444-8567-FECAC8D044DA}" type="pres">
      <dgm:prSet presAssocID="{DF1F2610-331D-40FA-BF9D-6EDF9EFE51A9}" presName="hierChild5" presStyleCnt="0"/>
      <dgm:spPr/>
    </dgm:pt>
    <dgm:pt modelId="{AAB28D6A-8651-4C2D-A93F-547F675057B1}" type="pres">
      <dgm:prSet presAssocID="{38E38FE5-60BB-4700-B80B-60E945994C77}" presName="Name37" presStyleLbl="parChTrans1D4" presStyleIdx="8" presStyleCnt="9"/>
      <dgm:spPr/>
      <dgm:t>
        <a:bodyPr/>
        <a:lstStyle/>
        <a:p>
          <a:endParaRPr lang="en-US"/>
        </a:p>
      </dgm:t>
    </dgm:pt>
    <dgm:pt modelId="{FDD37F11-1C21-4775-BDF3-129BCBC09A3A}" type="pres">
      <dgm:prSet presAssocID="{22411C1A-32C3-429F-B62A-F788CAD2365E}" presName="hierRoot2" presStyleCnt="0">
        <dgm:presLayoutVars>
          <dgm:hierBranch val="init"/>
        </dgm:presLayoutVars>
      </dgm:prSet>
      <dgm:spPr/>
    </dgm:pt>
    <dgm:pt modelId="{FCD25E20-914E-4CE0-902C-00E98C43450B}" type="pres">
      <dgm:prSet presAssocID="{22411C1A-32C3-429F-B62A-F788CAD2365E}" presName="rootComposite" presStyleCnt="0"/>
      <dgm:spPr/>
    </dgm:pt>
    <dgm:pt modelId="{4C681653-6A95-44B8-8E18-604E239A8921}" type="pres">
      <dgm:prSet presAssocID="{22411C1A-32C3-429F-B62A-F788CAD2365E}" presName="rootText" presStyleLbl="node4" presStyleIdx="8" presStyleCnt="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A26C2DD-ECFA-481B-9EC4-D765867E3F5D}" type="pres">
      <dgm:prSet presAssocID="{22411C1A-32C3-429F-B62A-F788CAD2365E}" presName="rootConnector" presStyleLbl="node4" presStyleIdx="8" presStyleCnt="9"/>
      <dgm:spPr/>
      <dgm:t>
        <a:bodyPr/>
        <a:lstStyle/>
        <a:p>
          <a:endParaRPr lang="en-US"/>
        </a:p>
      </dgm:t>
    </dgm:pt>
    <dgm:pt modelId="{5597CB20-0B74-40E6-B3E3-0781339B0A29}" type="pres">
      <dgm:prSet presAssocID="{22411C1A-32C3-429F-B62A-F788CAD2365E}" presName="hierChild4" presStyleCnt="0"/>
      <dgm:spPr/>
    </dgm:pt>
    <dgm:pt modelId="{6B8C6D94-65A1-4C27-AF0E-CB730DBB3943}" type="pres">
      <dgm:prSet presAssocID="{22411C1A-32C3-429F-B62A-F788CAD2365E}" presName="hierChild5" presStyleCnt="0"/>
      <dgm:spPr/>
    </dgm:pt>
    <dgm:pt modelId="{7C1E7FEE-F303-4C06-A5EA-4B89AB6E9F40}" type="pres">
      <dgm:prSet presAssocID="{E153FD2F-958B-4501-A714-C375DBAA7B73}" presName="hierChild5" presStyleCnt="0"/>
      <dgm:spPr/>
    </dgm:pt>
    <dgm:pt modelId="{292B17F6-3B17-409D-BDF6-F3FA5C93D47E}" type="pres">
      <dgm:prSet presAssocID="{2CDD2A35-444D-4D71-92BA-C8B34D8CA909}" presName="hierChild5" presStyleCnt="0"/>
      <dgm:spPr/>
    </dgm:pt>
    <dgm:pt modelId="{09A91909-8447-4F2B-B1BB-18494BA2637D}" type="pres">
      <dgm:prSet presAssocID="{DE83BED6-72D2-40AA-AEC0-E00DB39B7779}" presName="hierChild3" presStyleCnt="0"/>
      <dgm:spPr/>
    </dgm:pt>
  </dgm:ptLst>
  <dgm:cxnLst>
    <dgm:cxn modelId="{21067F37-5C70-43C8-B9FA-046E8A81E312}" srcId="{52326B99-223E-4164-90D7-189BFAB66F0A}" destId="{810B1EE7-ADA7-4515-A7BC-7AA700C89083}" srcOrd="1" destOrd="0" parTransId="{688FDE0E-B158-4D2A-BD17-E32A7E92A590}" sibTransId="{3F338A8F-D527-4D99-9FD4-7663FE18B3FB}"/>
    <dgm:cxn modelId="{452AB562-86A8-4FB3-90C0-6D896FD9B978}" type="presOf" srcId="{38E38FE5-60BB-4700-B80B-60E945994C77}" destId="{AAB28D6A-8651-4C2D-A93F-547F675057B1}" srcOrd="0" destOrd="0" presId="urn:microsoft.com/office/officeart/2005/8/layout/orgChart1"/>
    <dgm:cxn modelId="{938E7098-F292-4940-8588-464B60E7771B}" type="presOf" srcId="{DF1F2610-331D-40FA-BF9D-6EDF9EFE51A9}" destId="{CC79A65C-021F-416B-8170-45C80F66D6E8}" srcOrd="1" destOrd="0" presId="urn:microsoft.com/office/officeart/2005/8/layout/orgChart1"/>
    <dgm:cxn modelId="{C6D87FA5-AE64-4958-99B4-1061C9354B9B}" type="presOf" srcId="{E451B676-0CAC-406F-89E6-916AC8C8C93A}" destId="{31904FC6-72D9-49E0-9284-1C5AB229A040}" srcOrd="1" destOrd="0" presId="urn:microsoft.com/office/officeart/2005/8/layout/orgChart1"/>
    <dgm:cxn modelId="{44D1771E-A33F-462B-8B55-9B6FD46F21C3}" type="presOf" srcId="{AC66B097-9A77-4B4E-88EB-CCA6711BE3A9}" destId="{F0E31743-868F-406B-876C-6B11BD573394}" srcOrd="0" destOrd="0" presId="urn:microsoft.com/office/officeart/2005/8/layout/orgChart1"/>
    <dgm:cxn modelId="{32B4BE06-6A0A-4B60-9BA7-8759A6F548DC}" type="presOf" srcId="{94FACFF2-580F-4E03-A72E-6A78D3F61A0D}" destId="{8C3924C6-95D7-4CDA-A998-F6CD342F1665}" srcOrd="0" destOrd="0" presId="urn:microsoft.com/office/officeart/2005/8/layout/orgChart1"/>
    <dgm:cxn modelId="{B5B90F26-16E8-4001-BFFC-30CCC9ADD98D}" type="presOf" srcId="{810B1EE7-ADA7-4515-A7BC-7AA700C89083}" destId="{4B63BB0F-846E-4658-8317-2D639E924898}" srcOrd="1" destOrd="0" presId="urn:microsoft.com/office/officeart/2005/8/layout/orgChart1"/>
    <dgm:cxn modelId="{B8B83C6C-15B6-4BDB-9821-52150CE0D43F}" type="presOf" srcId="{7ACFD0D1-A2F7-4D8B-B016-D6307FF6BC97}" destId="{BF899FC6-68C7-4D71-8AE0-335BD5724311}" srcOrd="1" destOrd="0" presId="urn:microsoft.com/office/officeart/2005/8/layout/orgChart1"/>
    <dgm:cxn modelId="{1ED0FDA6-1B5A-4726-BCE1-470F2DD8DF62}" type="presOf" srcId="{52326B99-223E-4164-90D7-189BFAB66F0A}" destId="{CA2A6560-D5A2-4CB4-B870-C2758A3902AA}" srcOrd="1" destOrd="0" presId="urn:microsoft.com/office/officeart/2005/8/layout/orgChart1"/>
    <dgm:cxn modelId="{8261E12B-45A4-4AE4-A085-34D551051DF2}" srcId="{2CDD2A35-444D-4D71-92BA-C8B34D8CA909}" destId="{E153FD2F-958B-4501-A714-C375DBAA7B73}" srcOrd="1" destOrd="0" parTransId="{37569E72-FE62-463B-985A-434A9B88A922}" sibTransId="{813871F4-893C-45CA-90CA-14A824331AF1}"/>
    <dgm:cxn modelId="{493591BE-4BC6-472F-A1DD-05B747D3470A}" type="presOf" srcId="{1026319C-D65E-47DE-B68C-CB11FC289573}" destId="{B29D70E0-3C5F-46EB-8055-DA38CAFC89E3}" srcOrd="0" destOrd="0" presId="urn:microsoft.com/office/officeart/2005/8/layout/orgChart1"/>
    <dgm:cxn modelId="{76AB24E4-21C2-4925-8E5E-1B6A142948D1}" type="presOf" srcId="{2024CE07-0840-4AFA-A285-8A332F9F0084}" destId="{A45277E3-0420-4505-9B32-E8C33D91C7D0}" srcOrd="0" destOrd="0" presId="urn:microsoft.com/office/officeart/2005/8/layout/orgChart1"/>
    <dgm:cxn modelId="{228E0881-5181-43BF-B620-CBCEEDF099FE}" type="presOf" srcId="{DF1F2610-331D-40FA-BF9D-6EDF9EFE51A9}" destId="{DD7130DD-593A-4323-998D-55A96692D1AD}" srcOrd="0" destOrd="0" presId="urn:microsoft.com/office/officeart/2005/8/layout/orgChart1"/>
    <dgm:cxn modelId="{0B6392C2-9E73-4F46-A2DD-B8D9D081A5EE}" type="presOf" srcId="{5E6F2279-1A64-4664-9BDB-D1E6E052C3CB}" destId="{5F082D60-CC48-413C-8900-CCAAFA96DCD6}" srcOrd="0" destOrd="0" presId="urn:microsoft.com/office/officeart/2005/8/layout/orgChart1"/>
    <dgm:cxn modelId="{91BC3888-C210-44D4-8F45-F0177B94D3D3}" srcId="{E39CACED-4357-4F54-B362-1BBD963F9528}" destId="{DE83BED6-72D2-40AA-AEC0-E00DB39B7779}" srcOrd="0" destOrd="0" parTransId="{E909CF10-A94C-40D0-809D-A965F0027C14}" sibTransId="{9473080E-8303-4337-BC53-BC75E476AFCF}"/>
    <dgm:cxn modelId="{95A017AA-2A46-4721-9DD9-8F5C58CC241D}" type="presOf" srcId="{2CDD2A35-444D-4D71-92BA-C8B34D8CA909}" destId="{FB8A078E-B2AD-4CEF-B649-EE1D8B296623}" srcOrd="0" destOrd="0" presId="urn:microsoft.com/office/officeart/2005/8/layout/orgChart1"/>
    <dgm:cxn modelId="{16D0589D-860A-4F46-BA1F-F5A87674EE29}" srcId="{94FACFF2-580F-4E03-A72E-6A78D3F61A0D}" destId="{1026319C-D65E-47DE-B68C-CB11FC289573}" srcOrd="1" destOrd="0" parTransId="{AC66B097-9A77-4B4E-88EB-CCA6711BE3A9}" sibTransId="{4C185AE5-94A0-4DC9-BF18-A322378B65E3}"/>
    <dgm:cxn modelId="{ECE6AD1B-E202-4101-8BE3-577AB0E85D45}" srcId="{94FACFF2-580F-4E03-A72E-6A78D3F61A0D}" destId="{B814C49C-8DAB-46CD-88C0-98D4B1FCF628}" srcOrd="2" destOrd="0" parTransId="{E66D0E20-5C3D-409D-809A-AF9EF574822C}" sibTransId="{BAB494CC-CDA7-4E3A-AAC9-7B11016243B3}"/>
    <dgm:cxn modelId="{403EDE93-A57A-4F9E-B3EE-F5B39722219E}" srcId="{2CDD2A35-444D-4D71-92BA-C8B34D8CA909}" destId="{4BFE5450-8F82-4A26-8FDF-DF7A6C482BF7}" srcOrd="0" destOrd="0" parTransId="{68FFA976-AE26-4683-8AEF-A4906C549929}" sibTransId="{29569558-4D7A-4E00-A197-0DC2808CADE1}"/>
    <dgm:cxn modelId="{4E9CF9F5-5BA0-47D3-BA02-2A9B51DC2108}" type="presOf" srcId="{E153FD2F-958B-4501-A714-C375DBAA7B73}" destId="{A58FAC38-F844-4ED7-8E05-301D65C37F2F}" srcOrd="0" destOrd="0" presId="urn:microsoft.com/office/officeart/2005/8/layout/orgChart1"/>
    <dgm:cxn modelId="{627D6356-807D-4C8D-B05C-37459C390F38}" srcId="{DE83BED6-72D2-40AA-AEC0-E00DB39B7779}" destId="{2CDD2A35-444D-4D71-92BA-C8B34D8CA909}" srcOrd="2" destOrd="0" parTransId="{5E6F2279-1A64-4664-9BDB-D1E6E052C3CB}" sibTransId="{20FFD80E-CD8F-4EB4-9A9C-368F11DA1E34}"/>
    <dgm:cxn modelId="{921CC485-A613-408F-9F1E-69F87EE2E761}" type="presOf" srcId="{2CDD2A35-444D-4D71-92BA-C8B34D8CA909}" destId="{E6CDEAD0-CEC9-44F0-B32C-36EE4AF57253}" srcOrd="1" destOrd="0" presId="urn:microsoft.com/office/officeart/2005/8/layout/orgChart1"/>
    <dgm:cxn modelId="{95811D56-BE6C-442A-8EE0-05F71E7571AD}" type="presOf" srcId="{43F9BBB7-7A45-4719-B812-E36462539D72}" destId="{AC2F14F4-F80C-499C-898D-658D05F28B49}" srcOrd="0" destOrd="0" presId="urn:microsoft.com/office/officeart/2005/8/layout/orgChart1"/>
    <dgm:cxn modelId="{B30167D1-9C64-4F9A-8BA2-DD97E8AACE74}" type="presOf" srcId="{52326B99-223E-4164-90D7-189BFAB66F0A}" destId="{5A63B776-8325-407C-949F-EF4E998D6E29}" srcOrd="0" destOrd="0" presId="urn:microsoft.com/office/officeart/2005/8/layout/orgChart1"/>
    <dgm:cxn modelId="{8E13874A-667D-49C8-AE83-125151F6BEEC}" srcId="{E153FD2F-958B-4501-A714-C375DBAA7B73}" destId="{22411C1A-32C3-429F-B62A-F788CAD2365E}" srcOrd="2" destOrd="0" parTransId="{38E38FE5-60BB-4700-B80B-60E945994C77}" sibTransId="{54F2324B-9E8E-466F-9361-F9134718D6FF}"/>
    <dgm:cxn modelId="{3E2BCA04-61F0-4FF6-9177-B90D2EBB169E}" type="presOf" srcId="{E66D0E20-5C3D-409D-809A-AF9EF574822C}" destId="{2A7675F5-2BBC-4E57-B900-715F59D6F9D8}" srcOrd="0" destOrd="0" presId="urn:microsoft.com/office/officeart/2005/8/layout/orgChart1"/>
    <dgm:cxn modelId="{FF2DC7AF-D686-4B06-A9DC-6CEA7FC3821F}" type="presOf" srcId="{7671B5D7-6326-4F5B-A653-3CAF4F85C317}" destId="{304D762D-C028-4DB9-B788-4204A181D9A3}" srcOrd="1" destOrd="0" presId="urn:microsoft.com/office/officeart/2005/8/layout/orgChart1"/>
    <dgm:cxn modelId="{3CA04A72-530C-406C-BF29-3B1EA8046B92}" type="presOf" srcId="{B814C49C-8DAB-46CD-88C0-98D4B1FCF628}" destId="{313ED6A2-462B-4141-834D-9A74299512E5}" srcOrd="0" destOrd="0" presId="urn:microsoft.com/office/officeart/2005/8/layout/orgChart1"/>
    <dgm:cxn modelId="{99696638-D238-4A0E-B408-4D888E1129A8}" type="presOf" srcId="{E153FD2F-958B-4501-A714-C375DBAA7B73}" destId="{4A49625A-EA0D-4080-8F6A-1E53C4CB449C}" srcOrd="1" destOrd="0" presId="urn:microsoft.com/office/officeart/2005/8/layout/orgChart1"/>
    <dgm:cxn modelId="{0368E947-3751-4D22-B08D-E69DCBBAD5B1}" type="presOf" srcId="{1026319C-D65E-47DE-B68C-CB11FC289573}" destId="{6816DE47-4E45-46F7-8F85-34A9EBE7EE9B}" srcOrd="1" destOrd="0" presId="urn:microsoft.com/office/officeart/2005/8/layout/orgChart1"/>
    <dgm:cxn modelId="{7700DA18-A2CD-4841-B577-7519E50C3157}" type="presOf" srcId="{0F371CAE-D9D2-46D9-8B94-DA36E13C6AD2}" destId="{B6489E13-5EBB-46EA-BAD7-DF8FF1BD9538}" srcOrd="0" destOrd="0" presId="urn:microsoft.com/office/officeart/2005/8/layout/orgChart1"/>
    <dgm:cxn modelId="{22E69937-622D-43AA-9559-63C3487231DC}" type="presOf" srcId="{37569E72-FE62-463B-985A-434A9B88A922}" destId="{859C8F32-68AE-41D1-8F21-AF2ADD282176}" srcOrd="0" destOrd="0" presId="urn:microsoft.com/office/officeart/2005/8/layout/orgChart1"/>
    <dgm:cxn modelId="{0B066C93-26DA-48E2-BAD9-590E4324CC64}" type="presOf" srcId="{2200EFBE-E51B-40A8-A3E2-1D0324F302C7}" destId="{DF1B4D46-6B4C-4E13-87A0-8C66A3638BAA}" srcOrd="1" destOrd="0" presId="urn:microsoft.com/office/officeart/2005/8/layout/orgChart1"/>
    <dgm:cxn modelId="{5ADBB2A0-C35E-4D9A-AEED-FD278FD83C59}" type="presOf" srcId="{7E5C29F3-5719-4E17-8CBB-86C58D1C392D}" destId="{7ECEA8CD-85C0-4A0E-A40C-3A0438CC7C86}" srcOrd="0" destOrd="0" presId="urn:microsoft.com/office/officeart/2005/8/layout/orgChart1"/>
    <dgm:cxn modelId="{E5490AFB-FB48-4B67-B18D-447451621283}" type="presOf" srcId="{7B7C413D-1FCC-4D9D-9F1C-BACFFAFF07D7}" destId="{DD6034CB-E414-4170-8B00-5686E0E374AF}" srcOrd="0" destOrd="0" presId="urn:microsoft.com/office/officeart/2005/8/layout/orgChart1"/>
    <dgm:cxn modelId="{8517D4AE-DD28-4E2E-B612-926DF3283375}" type="presOf" srcId="{F71B3521-3C56-4052-BCD1-EA1D3EC6C481}" destId="{D091A536-36A1-4130-9339-8B801A1F2803}" srcOrd="1" destOrd="0" presId="urn:microsoft.com/office/officeart/2005/8/layout/orgChart1"/>
    <dgm:cxn modelId="{D36CC128-9516-432E-8C97-288C4D234481}" type="presOf" srcId="{4BFE5450-8F82-4A26-8FDF-DF7A6C482BF7}" destId="{5EF3B480-E935-4555-B3CF-B0EEC2DD1246}" srcOrd="0" destOrd="0" presId="urn:microsoft.com/office/officeart/2005/8/layout/orgChart1"/>
    <dgm:cxn modelId="{DA01E8F1-BD13-4D32-AECB-33B030C33A08}" type="presOf" srcId="{810B1EE7-ADA7-4515-A7BC-7AA700C89083}" destId="{C7CAA8CC-E8AB-4416-AC75-95F821E67A5E}" srcOrd="0" destOrd="0" presId="urn:microsoft.com/office/officeart/2005/8/layout/orgChart1"/>
    <dgm:cxn modelId="{64352DF4-A147-4149-929B-10516397DB45}" type="presOf" srcId="{4BFE5450-8F82-4A26-8FDF-DF7A6C482BF7}" destId="{EDDDFF92-DBE7-4D93-B07E-41CBE5E88BAD}" srcOrd="1" destOrd="0" presId="urn:microsoft.com/office/officeart/2005/8/layout/orgChart1"/>
    <dgm:cxn modelId="{43927286-55E9-49DD-A65A-944858D9A2D2}" type="presOf" srcId="{E4F26A9D-442B-4CF3-B8A7-61AD103578AA}" destId="{63FC501E-E654-41F7-BA6A-0BF70B2D3C70}" srcOrd="0" destOrd="0" presId="urn:microsoft.com/office/officeart/2005/8/layout/orgChart1"/>
    <dgm:cxn modelId="{BFAD9CB4-B266-4ED1-B256-5B115E51A922}" srcId="{F71B3521-3C56-4052-BCD1-EA1D3EC6C481}" destId="{E4F26A9D-442B-4CF3-B8A7-61AD103578AA}" srcOrd="1" destOrd="0" parTransId="{7B7C413D-1FCC-4D9D-9F1C-BACFFAFF07D7}" sibTransId="{A44C9AC1-0FD1-4891-8DAF-618E59E6EBED}"/>
    <dgm:cxn modelId="{B848F1F6-667B-4DD1-A6FE-0B54FD02F848}" type="presOf" srcId="{688FDE0E-B158-4D2A-BD17-E32A7E92A590}" destId="{DA2BD802-BF83-415A-AED6-A8AEE65C718B}" srcOrd="0" destOrd="0" presId="urn:microsoft.com/office/officeart/2005/8/layout/orgChart1"/>
    <dgm:cxn modelId="{382FC2AC-D2B6-455D-BF5F-1A4DFDF00E20}" type="presOf" srcId="{DE83BED6-72D2-40AA-AEC0-E00DB39B7779}" destId="{38BA7490-6ACB-4B33-883C-6FA120FC9D65}" srcOrd="0" destOrd="0" presId="urn:microsoft.com/office/officeart/2005/8/layout/orgChart1"/>
    <dgm:cxn modelId="{AEAF9D67-E660-462E-915D-DBA4FC31214E}" srcId="{94FACFF2-580F-4E03-A72E-6A78D3F61A0D}" destId="{930425C0-40A6-483D-B20A-ADF47FECA268}" srcOrd="0" destOrd="0" parTransId="{D0A1B840-787D-4ED8-9FA8-82EFBF4A16ED}" sibTransId="{6EA20A79-F908-456E-9CB2-9415506673C5}"/>
    <dgm:cxn modelId="{A5321769-F8B7-4F1A-9215-9B821AE355B0}" type="presOf" srcId="{17043636-82E3-4A58-BD54-255DAE385AA4}" destId="{B02AF2FA-B901-4EBD-A0F4-874AF10956EF}" srcOrd="0" destOrd="0" presId="urn:microsoft.com/office/officeart/2005/8/layout/orgChart1"/>
    <dgm:cxn modelId="{2A6FAEFC-B767-45EC-BC2A-512D63513159}" type="presOf" srcId="{22411C1A-32C3-429F-B62A-F788CAD2365E}" destId="{4A26C2DD-ECFA-481B-9EC4-D765867E3F5D}" srcOrd="1" destOrd="0" presId="urn:microsoft.com/office/officeart/2005/8/layout/orgChart1"/>
    <dgm:cxn modelId="{4DFA079C-6BCC-4BC5-85C8-CF7CB1216CEF}" type="presOf" srcId="{B814C49C-8DAB-46CD-88C0-98D4B1FCF628}" destId="{03E8E9C7-25A4-4E24-9CA9-CB63D43604DC}" srcOrd="1" destOrd="0" presId="urn:microsoft.com/office/officeart/2005/8/layout/orgChart1"/>
    <dgm:cxn modelId="{94659977-284D-4BBB-9170-5844AE352DC9}" type="presOf" srcId="{BBB07DC0-FEB0-41A7-994C-B6C0577FD4BB}" destId="{F43736C3-DC97-41E9-A92D-0C87CF3D4CE0}" srcOrd="0" destOrd="0" presId="urn:microsoft.com/office/officeart/2005/8/layout/orgChart1"/>
    <dgm:cxn modelId="{223C3792-783D-4965-8CFD-8BFA18063BE5}" srcId="{F0813E2C-4806-4C65-8B5D-B3CAA55AB4B6}" destId="{7ACFD0D1-A2F7-4D8B-B016-D6307FF6BC97}" srcOrd="1" destOrd="0" parTransId="{17043636-82E3-4A58-BD54-255DAE385AA4}" sibTransId="{447DFFCA-08FE-45A8-A203-ECEF4DEF995A}"/>
    <dgm:cxn modelId="{AB3B4B63-077B-48AE-AD03-D71DEEF0E388}" type="presOf" srcId="{F0813E2C-4806-4C65-8B5D-B3CAA55AB4B6}" destId="{BC10B860-36A0-4961-8079-9E6BE51EC74E}" srcOrd="1" destOrd="0" presId="urn:microsoft.com/office/officeart/2005/8/layout/orgChart1"/>
    <dgm:cxn modelId="{DA25C05B-5EBE-4A14-AFAA-B430148921B4}" type="presOf" srcId="{F71B3521-3C56-4052-BCD1-EA1D3EC6C481}" destId="{029320F6-83FB-4A89-9054-D9E9E12EE9BC}" srcOrd="0" destOrd="0" presId="urn:microsoft.com/office/officeart/2005/8/layout/orgChart1"/>
    <dgm:cxn modelId="{89F20B58-B878-4E3C-AE27-70708947A09F}" type="presOf" srcId="{4ED415F9-59B2-4644-8650-A4A52C08AAF1}" destId="{3BCCE23A-CC94-4B5F-B13D-CB73BFAE0403}" srcOrd="0" destOrd="0" presId="urn:microsoft.com/office/officeart/2005/8/layout/orgChart1"/>
    <dgm:cxn modelId="{622C97C6-A014-496D-9ABC-01BCAE9C902F}" srcId="{E153FD2F-958B-4501-A714-C375DBAA7B73}" destId="{2200EFBE-E51B-40A8-A3E2-1D0324F302C7}" srcOrd="0" destOrd="0" parTransId="{1B74D045-C566-437F-BAD9-2E5044FD5BC2}" sibTransId="{467E0E56-FE40-425D-B073-0E8D99971773}"/>
    <dgm:cxn modelId="{16B25F72-EC1A-4F3B-912C-71B85422DF8D}" type="presOf" srcId="{930425C0-40A6-483D-B20A-ADF47FECA268}" destId="{DED8561A-5A8E-4CBE-8FC6-607A83CFC3C4}" srcOrd="1" destOrd="0" presId="urn:microsoft.com/office/officeart/2005/8/layout/orgChart1"/>
    <dgm:cxn modelId="{AC90768F-CF22-4F7A-AA4D-BB3C95946B19}" type="presOf" srcId="{7ACFD0D1-A2F7-4D8B-B016-D6307FF6BC97}" destId="{619A917E-2FE0-4D54-B500-A6523829D53A}" srcOrd="0" destOrd="0" presId="urn:microsoft.com/office/officeart/2005/8/layout/orgChart1"/>
    <dgm:cxn modelId="{613BBA60-AA40-4FD2-BD9C-9F73C0C64176}" type="presOf" srcId="{E451B676-0CAC-406F-89E6-916AC8C8C93A}" destId="{EC11BC86-6BAE-45D5-BE76-F78A05459AB0}" srcOrd="0" destOrd="0" presId="urn:microsoft.com/office/officeart/2005/8/layout/orgChart1"/>
    <dgm:cxn modelId="{4E32FD09-72B4-4A0C-859E-E8EC0735A805}" srcId="{E4F26A9D-442B-4CF3-B8A7-61AD103578AA}" destId="{7671B5D7-6326-4F5B-A653-3CAF4F85C317}" srcOrd="0" destOrd="0" parTransId="{7E5C29F3-5719-4E17-8CBB-86C58D1C392D}" sibTransId="{E73BEF5A-7A13-4798-875B-3AF82E129181}"/>
    <dgm:cxn modelId="{7563F631-7651-480B-A442-0162B42B7E2C}" type="presOf" srcId="{5C8FC595-5907-4E6D-A000-F6203E0A6DB2}" destId="{4C90B3C0-311B-4985-BF2C-4868A2BA2053}" srcOrd="0" destOrd="0" presId="urn:microsoft.com/office/officeart/2005/8/layout/orgChart1"/>
    <dgm:cxn modelId="{1E27E3D6-4258-41F0-A036-70EBDD7987F0}" srcId="{E153FD2F-958B-4501-A714-C375DBAA7B73}" destId="{DF1F2610-331D-40FA-BF9D-6EDF9EFE51A9}" srcOrd="1" destOrd="0" parTransId="{0F371CAE-D9D2-46D9-8B94-DA36E13C6AD2}" sibTransId="{42F110AA-9D8C-489A-8265-CF1111F09DD2}"/>
    <dgm:cxn modelId="{BC0B6FAB-9AD7-4125-A9D1-743D4B0341A2}" type="presOf" srcId="{68FFA976-AE26-4683-8AEF-A4906C549929}" destId="{374A45A3-F760-4C0A-96C3-EA44E0B95103}" srcOrd="0" destOrd="0" presId="urn:microsoft.com/office/officeart/2005/8/layout/orgChart1"/>
    <dgm:cxn modelId="{316078D2-E839-4BE8-A216-FE7647D3B7FF}" type="presOf" srcId="{F0813E2C-4806-4C65-8B5D-B3CAA55AB4B6}" destId="{7E66F63D-8FA6-42BB-A62A-C349B7EA69C6}" srcOrd="0" destOrd="0" presId="urn:microsoft.com/office/officeart/2005/8/layout/orgChart1"/>
    <dgm:cxn modelId="{BA53FF5F-979E-45BD-8AFE-0436ABBEBD48}" srcId="{DE83BED6-72D2-40AA-AEC0-E00DB39B7779}" destId="{F71B3521-3C56-4052-BCD1-EA1D3EC6C481}" srcOrd="0" destOrd="0" parTransId="{A60FFF55-2885-42D8-80AE-7C93D2F114D2}" sibTransId="{04C87A95-CE1A-40CE-BD04-BA16A5204ACD}"/>
    <dgm:cxn modelId="{FE75EC1C-0445-4F89-A1A2-5611D6C7FC48}" type="presOf" srcId="{3120464E-6024-475A-B833-ED05EB9364F6}" destId="{1B48FE02-8066-4510-AB7C-F56BD51BDF4B}" srcOrd="0" destOrd="0" presId="urn:microsoft.com/office/officeart/2005/8/layout/orgChart1"/>
    <dgm:cxn modelId="{47B2ACAB-05D1-4DAF-8B40-5A7D70A3708E}" srcId="{E4F26A9D-442B-4CF3-B8A7-61AD103578AA}" destId="{3120464E-6024-475A-B833-ED05EB9364F6}" srcOrd="1" destOrd="0" parTransId="{9C6E6B69-2180-480A-A2A4-BBF946CFBF3C}" sibTransId="{76E983C7-6E5F-439F-9C61-D3301964DD49}"/>
    <dgm:cxn modelId="{AA254AB3-A982-43DF-BF08-2B63FC3E8ACF}" srcId="{F71B3521-3C56-4052-BCD1-EA1D3EC6C481}" destId="{F0813E2C-4806-4C65-8B5D-B3CAA55AB4B6}" srcOrd="2" destOrd="0" parTransId="{5C8FC595-5907-4E6D-A000-F6203E0A6DB2}" sibTransId="{3964BBF3-C709-403C-B809-DE00E322985E}"/>
    <dgm:cxn modelId="{46F3E8E7-7BFE-4342-9B47-F64F006490EC}" type="presOf" srcId="{930425C0-40A6-483D-B20A-ADF47FECA268}" destId="{5677D944-029C-484C-80A5-13BC10A104E4}" srcOrd="0" destOrd="0" presId="urn:microsoft.com/office/officeart/2005/8/layout/orgChart1"/>
    <dgm:cxn modelId="{80AA12F1-72CF-4118-B799-EB126F2E4659}" srcId="{F71B3521-3C56-4052-BCD1-EA1D3EC6C481}" destId="{52326B99-223E-4164-90D7-189BFAB66F0A}" srcOrd="0" destOrd="0" parTransId="{43F9BBB7-7A45-4719-B812-E36462539D72}" sibTransId="{6A06A137-FFCF-4AC8-A6A6-6CC520E649F9}"/>
    <dgm:cxn modelId="{B0C2F911-FF42-4D9D-AA2A-2C73CACFF057}" type="presOf" srcId="{A60FFF55-2885-42D8-80AE-7C93D2F114D2}" destId="{FFA55980-77AF-44D0-A3F7-3BC269961AEC}" srcOrd="0" destOrd="0" presId="urn:microsoft.com/office/officeart/2005/8/layout/orgChart1"/>
    <dgm:cxn modelId="{D905224C-9F43-4CD3-90EB-0488072EA899}" srcId="{52326B99-223E-4164-90D7-189BFAB66F0A}" destId="{E451B676-0CAC-406F-89E6-916AC8C8C93A}" srcOrd="0" destOrd="0" parTransId="{A452153C-2C8E-4105-89D1-F2A798AB2705}" sibTransId="{CBDF9A26-4D10-4197-9A88-511C33963680}"/>
    <dgm:cxn modelId="{15730EE9-4647-4C9D-9B6F-9B514A1386F2}" type="presOf" srcId="{2200EFBE-E51B-40A8-A3E2-1D0324F302C7}" destId="{25C1F27A-1E2D-4892-BB4F-57A7E4F11EDF}" srcOrd="0" destOrd="0" presId="urn:microsoft.com/office/officeart/2005/8/layout/orgChart1"/>
    <dgm:cxn modelId="{68AE023E-F2C9-43DB-AF67-5F5A3881FC9A}" srcId="{DE83BED6-72D2-40AA-AEC0-E00DB39B7779}" destId="{94FACFF2-580F-4E03-A72E-6A78D3F61A0D}" srcOrd="1" destOrd="0" parTransId="{BBB07DC0-FEB0-41A7-994C-B6C0577FD4BB}" sibTransId="{885E6A8D-99E2-48EC-9D08-E3ED777D83AC}"/>
    <dgm:cxn modelId="{A208F780-2010-46AC-95F7-B38B0818DDD0}" type="presOf" srcId="{D0A1B840-787D-4ED8-9FA8-82EFBF4A16ED}" destId="{03B7BB75-3081-4A5F-AE84-D0A5017A250E}" srcOrd="0" destOrd="0" presId="urn:microsoft.com/office/officeart/2005/8/layout/orgChart1"/>
    <dgm:cxn modelId="{9617F4F1-AE91-4DD6-AD76-2AB2B14EDB52}" type="presOf" srcId="{22411C1A-32C3-429F-B62A-F788CAD2365E}" destId="{4C681653-6A95-44B8-8E18-604E239A8921}" srcOrd="0" destOrd="0" presId="urn:microsoft.com/office/officeart/2005/8/layout/orgChart1"/>
    <dgm:cxn modelId="{0CC24860-FA83-4CB0-AB5B-220053071C13}" type="presOf" srcId="{E39CACED-4357-4F54-B362-1BBD963F9528}" destId="{28859B5A-0B83-443C-ADF5-F37810593438}" srcOrd="0" destOrd="0" presId="urn:microsoft.com/office/officeart/2005/8/layout/orgChart1"/>
    <dgm:cxn modelId="{6593559A-A772-4010-8806-65F58FA0CD99}" type="presOf" srcId="{9C6E6B69-2180-480A-A2A4-BBF946CFBF3C}" destId="{610B7A79-132C-4674-BEC6-DB17C8FE71CA}" srcOrd="0" destOrd="0" presId="urn:microsoft.com/office/officeart/2005/8/layout/orgChart1"/>
    <dgm:cxn modelId="{23A76C17-CF7F-43FA-9AF3-C00ABE27BE93}" type="presOf" srcId="{DE83BED6-72D2-40AA-AEC0-E00DB39B7779}" destId="{680577D9-CE59-4684-96DE-28BAE8831EA2}" srcOrd="1" destOrd="0" presId="urn:microsoft.com/office/officeart/2005/8/layout/orgChart1"/>
    <dgm:cxn modelId="{C40E4C39-1078-4CF3-A884-170DF92B7E56}" type="presOf" srcId="{7671B5D7-6326-4F5B-A653-3CAF4F85C317}" destId="{F262B25E-D781-4D44-82CD-CC9D501578F2}" srcOrd="0" destOrd="0" presId="urn:microsoft.com/office/officeart/2005/8/layout/orgChart1"/>
    <dgm:cxn modelId="{44456524-D468-48EC-A7FC-06E0642AE47A}" type="presOf" srcId="{3120464E-6024-475A-B833-ED05EB9364F6}" destId="{F175C515-C5ED-4B79-BB93-B05E49C0C9B4}" srcOrd="1" destOrd="0" presId="urn:microsoft.com/office/officeart/2005/8/layout/orgChart1"/>
    <dgm:cxn modelId="{4E06145D-98A8-42FD-B3BE-4B513D55B683}" type="presOf" srcId="{A452153C-2C8E-4105-89D1-F2A798AB2705}" destId="{2A285E9D-B462-4456-8ED7-DDC2E8C76837}" srcOrd="0" destOrd="0" presId="urn:microsoft.com/office/officeart/2005/8/layout/orgChart1"/>
    <dgm:cxn modelId="{E4BD6BA0-4612-47B5-87F7-3BBE8E616BFA}" type="presOf" srcId="{94FACFF2-580F-4E03-A72E-6A78D3F61A0D}" destId="{D76FD241-CC1D-4310-89BD-442A5810C12B}" srcOrd="1" destOrd="0" presId="urn:microsoft.com/office/officeart/2005/8/layout/orgChart1"/>
    <dgm:cxn modelId="{287E05F7-89BA-4B54-8AFF-77FBEBA79715}" srcId="{F0813E2C-4806-4C65-8B5D-B3CAA55AB4B6}" destId="{2024CE07-0840-4AFA-A285-8A332F9F0084}" srcOrd="0" destOrd="0" parTransId="{4ED415F9-59B2-4644-8650-A4A52C08AAF1}" sibTransId="{25F22E91-CAE5-4C7C-9F8E-57A952A79A8E}"/>
    <dgm:cxn modelId="{BDFAE214-9EFA-4B1E-AE5C-351FAC77DD0F}" type="presOf" srcId="{E4F26A9D-442B-4CF3-B8A7-61AD103578AA}" destId="{2C7A89E5-BCC5-49F8-9C2E-B40770C21629}" srcOrd="1" destOrd="0" presId="urn:microsoft.com/office/officeart/2005/8/layout/orgChart1"/>
    <dgm:cxn modelId="{64E12364-C9DE-4D6F-BC3D-E3400D34BBA5}" type="presOf" srcId="{1B74D045-C566-437F-BAD9-2E5044FD5BC2}" destId="{AAF14733-7772-4221-A3F0-B49E68B56A28}" srcOrd="0" destOrd="0" presId="urn:microsoft.com/office/officeart/2005/8/layout/orgChart1"/>
    <dgm:cxn modelId="{5660E681-313A-4926-9CD1-D13BDBCCCDAE}" type="presOf" srcId="{2024CE07-0840-4AFA-A285-8A332F9F0084}" destId="{878837BE-515B-4E24-ACD3-D8817605E4AB}" srcOrd="1" destOrd="0" presId="urn:microsoft.com/office/officeart/2005/8/layout/orgChart1"/>
    <dgm:cxn modelId="{BDC44B1A-A547-4EEF-8C8D-A2BD2E6A0653}" type="presParOf" srcId="{28859B5A-0B83-443C-ADF5-F37810593438}" destId="{F6F7935D-6530-4593-AE5C-8F4559AFEF00}" srcOrd="0" destOrd="0" presId="urn:microsoft.com/office/officeart/2005/8/layout/orgChart1"/>
    <dgm:cxn modelId="{3C90D6FB-FDC7-4B0D-88D3-A7CA48E8CB91}" type="presParOf" srcId="{F6F7935D-6530-4593-AE5C-8F4559AFEF00}" destId="{83F13196-00FF-420F-91B3-7265F9DA2E35}" srcOrd="0" destOrd="0" presId="urn:microsoft.com/office/officeart/2005/8/layout/orgChart1"/>
    <dgm:cxn modelId="{C130177A-B8AD-459D-AE48-4F00231BE81D}" type="presParOf" srcId="{83F13196-00FF-420F-91B3-7265F9DA2E35}" destId="{38BA7490-6ACB-4B33-883C-6FA120FC9D65}" srcOrd="0" destOrd="0" presId="urn:microsoft.com/office/officeart/2005/8/layout/orgChart1"/>
    <dgm:cxn modelId="{0CC6F35E-48D5-4157-8C70-3269CF981A9E}" type="presParOf" srcId="{83F13196-00FF-420F-91B3-7265F9DA2E35}" destId="{680577D9-CE59-4684-96DE-28BAE8831EA2}" srcOrd="1" destOrd="0" presId="urn:microsoft.com/office/officeart/2005/8/layout/orgChart1"/>
    <dgm:cxn modelId="{A2BB0DA2-5D03-4144-BCB9-0B12159D307F}" type="presParOf" srcId="{F6F7935D-6530-4593-AE5C-8F4559AFEF00}" destId="{7CEDCA83-5FB1-4912-AF43-4BFEBFF2F37F}" srcOrd="1" destOrd="0" presId="urn:microsoft.com/office/officeart/2005/8/layout/orgChart1"/>
    <dgm:cxn modelId="{C89E8128-D02F-4859-AC62-6390D03CEC7C}" type="presParOf" srcId="{7CEDCA83-5FB1-4912-AF43-4BFEBFF2F37F}" destId="{FFA55980-77AF-44D0-A3F7-3BC269961AEC}" srcOrd="0" destOrd="0" presId="urn:microsoft.com/office/officeart/2005/8/layout/orgChart1"/>
    <dgm:cxn modelId="{9ACD2702-4CAB-4560-B706-726B7BDB0F74}" type="presParOf" srcId="{7CEDCA83-5FB1-4912-AF43-4BFEBFF2F37F}" destId="{00081117-45A1-413A-B1E7-872F21D2B3AC}" srcOrd="1" destOrd="0" presId="urn:microsoft.com/office/officeart/2005/8/layout/orgChart1"/>
    <dgm:cxn modelId="{FAF52A72-6552-4D23-A21F-1C930A43399C}" type="presParOf" srcId="{00081117-45A1-413A-B1E7-872F21D2B3AC}" destId="{04D54B35-6050-4549-B9DB-88983911643A}" srcOrd="0" destOrd="0" presId="urn:microsoft.com/office/officeart/2005/8/layout/orgChart1"/>
    <dgm:cxn modelId="{3B6F8731-291A-4446-9296-DD57F318BF55}" type="presParOf" srcId="{04D54B35-6050-4549-B9DB-88983911643A}" destId="{029320F6-83FB-4A89-9054-D9E9E12EE9BC}" srcOrd="0" destOrd="0" presId="urn:microsoft.com/office/officeart/2005/8/layout/orgChart1"/>
    <dgm:cxn modelId="{7B210481-090A-4483-A719-ABC7B69E72D2}" type="presParOf" srcId="{04D54B35-6050-4549-B9DB-88983911643A}" destId="{D091A536-36A1-4130-9339-8B801A1F2803}" srcOrd="1" destOrd="0" presId="urn:microsoft.com/office/officeart/2005/8/layout/orgChart1"/>
    <dgm:cxn modelId="{E5A32936-3C3A-4F3C-9B93-990F71D34D77}" type="presParOf" srcId="{00081117-45A1-413A-B1E7-872F21D2B3AC}" destId="{FF10DB19-2D38-4AA7-9618-B663B1423350}" srcOrd="1" destOrd="0" presId="urn:microsoft.com/office/officeart/2005/8/layout/orgChart1"/>
    <dgm:cxn modelId="{34C91E7C-BE0D-4C10-9DA3-3444D283D680}" type="presParOf" srcId="{FF10DB19-2D38-4AA7-9618-B663B1423350}" destId="{AC2F14F4-F80C-499C-898D-658D05F28B49}" srcOrd="0" destOrd="0" presId="urn:microsoft.com/office/officeart/2005/8/layout/orgChart1"/>
    <dgm:cxn modelId="{A4861777-5840-4AD0-B74E-F5CE5949A702}" type="presParOf" srcId="{FF10DB19-2D38-4AA7-9618-B663B1423350}" destId="{4CBFBE2A-E49D-4A7B-ADC8-03FEEFC476A9}" srcOrd="1" destOrd="0" presId="urn:microsoft.com/office/officeart/2005/8/layout/orgChart1"/>
    <dgm:cxn modelId="{C5032C46-4668-4821-B945-6E1214D840D6}" type="presParOf" srcId="{4CBFBE2A-E49D-4A7B-ADC8-03FEEFC476A9}" destId="{611245A0-6B2F-4851-A3A4-48E2F2F08A53}" srcOrd="0" destOrd="0" presId="urn:microsoft.com/office/officeart/2005/8/layout/orgChart1"/>
    <dgm:cxn modelId="{EF755C81-C33B-4B13-B3CF-12F2B18E17B7}" type="presParOf" srcId="{611245A0-6B2F-4851-A3A4-48E2F2F08A53}" destId="{5A63B776-8325-407C-949F-EF4E998D6E29}" srcOrd="0" destOrd="0" presId="urn:microsoft.com/office/officeart/2005/8/layout/orgChart1"/>
    <dgm:cxn modelId="{88864172-A779-44C9-9DD8-3957373CCAE9}" type="presParOf" srcId="{611245A0-6B2F-4851-A3A4-48E2F2F08A53}" destId="{CA2A6560-D5A2-4CB4-B870-C2758A3902AA}" srcOrd="1" destOrd="0" presId="urn:microsoft.com/office/officeart/2005/8/layout/orgChart1"/>
    <dgm:cxn modelId="{7A401D62-7CEE-4FDC-94FB-B7557AE9E468}" type="presParOf" srcId="{4CBFBE2A-E49D-4A7B-ADC8-03FEEFC476A9}" destId="{5652B142-197D-4B9C-A5CA-3F981E5F4F94}" srcOrd="1" destOrd="0" presId="urn:microsoft.com/office/officeart/2005/8/layout/orgChart1"/>
    <dgm:cxn modelId="{7DCFDD31-20D5-4DD6-8C9C-6178EDD74CA2}" type="presParOf" srcId="{5652B142-197D-4B9C-A5CA-3F981E5F4F94}" destId="{2A285E9D-B462-4456-8ED7-DDC2E8C76837}" srcOrd="0" destOrd="0" presId="urn:microsoft.com/office/officeart/2005/8/layout/orgChart1"/>
    <dgm:cxn modelId="{70609D22-DE05-47F4-83DF-494C3D19C670}" type="presParOf" srcId="{5652B142-197D-4B9C-A5CA-3F981E5F4F94}" destId="{A0E18524-3B09-4688-9F9F-87AB30720A98}" srcOrd="1" destOrd="0" presId="urn:microsoft.com/office/officeart/2005/8/layout/orgChart1"/>
    <dgm:cxn modelId="{4DE44EB4-E60A-4F17-A2DE-FECBC11E028B}" type="presParOf" srcId="{A0E18524-3B09-4688-9F9F-87AB30720A98}" destId="{C01B0461-EEC3-4E13-A59D-BE7F52E75A87}" srcOrd="0" destOrd="0" presId="urn:microsoft.com/office/officeart/2005/8/layout/orgChart1"/>
    <dgm:cxn modelId="{6FF6B93F-6809-4F14-B8BC-747D3AF73102}" type="presParOf" srcId="{C01B0461-EEC3-4E13-A59D-BE7F52E75A87}" destId="{EC11BC86-6BAE-45D5-BE76-F78A05459AB0}" srcOrd="0" destOrd="0" presId="urn:microsoft.com/office/officeart/2005/8/layout/orgChart1"/>
    <dgm:cxn modelId="{52D1F624-1CE0-4186-BD3E-F5123B9FBDCE}" type="presParOf" srcId="{C01B0461-EEC3-4E13-A59D-BE7F52E75A87}" destId="{31904FC6-72D9-49E0-9284-1C5AB229A040}" srcOrd="1" destOrd="0" presId="urn:microsoft.com/office/officeart/2005/8/layout/orgChart1"/>
    <dgm:cxn modelId="{AA21EA2F-35DD-4422-9E93-3FBE8389B5A2}" type="presParOf" srcId="{A0E18524-3B09-4688-9F9F-87AB30720A98}" destId="{B1958780-B180-4D09-813D-3FFCFB6D6A41}" srcOrd="1" destOrd="0" presId="urn:microsoft.com/office/officeart/2005/8/layout/orgChart1"/>
    <dgm:cxn modelId="{47C9CE25-CEB6-4563-8949-A4A0CB86531B}" type="presParOf" srcId="{A0E18524-3B09-4688-9F9F-87AB30720A98}" destId="{A514FABF-9D63-4365-8AA0-DAE0293AA92A}" srcOrd="2" destOrd="0" presId="urn:microsoft.com/office/officeart/2005/8/layout/orgChart1"/>
    <dgm:cxn modelId="{F49BE8BE-876D-4476-A3A8-2FD4C367B538}" type="presParOf" srcId="{5652B142-197D-4B9C-A5CA-3F981E5F4F94}" destId="{DA2BD802-BF83-415A-AED6-A8AEE65C718B}" srcOrd="2" destOrd="0" presId="urn:microsoft.com/office/officeart/2005/8/layout/orgChart1"/>
    <dgm:cxn modelId="{7F8D9045-1CD8-4A73-91ED-500DDADF2EDA}" type="presParOf" srcId="{5652B142-197D-4B9C-A5CA-3F981E5F4F94}" destId="{87CE19AB-47C5-400D-8A20-2D627BDEC313}" srcOrd="3" destOrd="0" presId="urn:microsoft.com/office/officeart/2005/8/layout/orgChart1"/>
    <dgm:cxn modelId="{2BF9CF00-8F30-4EB1-A3DB-7C98DBDD3E6B}" type="presParOf" srcId="{87CE19AB-47C5-400D-8A20-2D627BDEC313}" destId="{C7CB3C31-96F3-45F2-9490-029EC35187A7}" srcOrd="0" destOrd="0" presId="urn:microsoft.com/office/officeart/2005/8/layout/orgChart1"/>
    <dgm:cxn modelId="{5EA02B36-27E0-4549-A9C1-4CC6E415CA36}" type="presParOf" srcId="{C7CB3C31-96F3-45F2-9490-029EC35187A7}" destId="{C7CAA8CC-E8AB-4416-AC75-95F821E67A5E}" srcOrd="0" destOrd="0" presId="urn:microsoft.com/office/officeart/2005/8/layout/orgChart1"/>
    <dgm:cxn modelId="{8334B7BA-2F7E-4577-802D-2796511AAC44}" type="presParOf" srcId="{C7CB3C31-96F3-45F2-9490-029EC35187A7}" destId="{4B63BB0F-846E-4658-8317-2D639E924898}" srcOrd="1" destOrd="0" presId="urn:microsoft.com/office/officeart/2005/8/layout/orgChart1"/>
    <dgm:cxn modelId="{000889FA-679C-4791-8743-8EF78A0E6FEB}" type="presParOf" srcId="{87CE19AB-47C5-400D-8A20-2D627BDEC313}" destId="{5DF7D52E-E6F0-4B9B-B745-37DDD18BC703}" srcOrd="1" destOrd="0" presId="urn:microsoft.com/office/officeart/2005/8/layout/orgChart1"/>
    <dgm:cxn modelId="{07876C78-96A4-4983-AEB7-5948ED9200AA}" type="presParOf" srcId="{87CE19AB-47C5-400D-8A20-2D627BDEC313}" destId="{1D73D43A-92BE-4D5C-9170-CC170013A0BE}" srcOrd="2" destOrd="0" presId="urn:microsoft.com/office/officeart/2005/8/layout/orgChart1"/>
    <dgm:cxn modelId="{EE491464-9433-4383-A969-E0CC5474F9F5}" type="presParOf" srcId="{4CBFBE2A-E49D-4A7B-ADC8-03FEEFC476A9}" destId="{478812A8-6644-4BDA-9BD5-4197CB329005}" srcOrd="2" destOrd="0" presId="urn:microsoft.com/office/officeart/2005/8/layout/orgChart1"/>
    <dgm:cxn modelId="{5C62238E-F6B2-4703-9F11-3F198319BE32}" type="presParOf" srcId="{FF10DB19-2D38-4AA7-9618-B663B1423350}" destId="{DD6034CB-E414-4170-8B00-5686E0E374AF}" srcOrd="2" destOrd="0" presId="urn:microsoft.com/office/officeart/2005/8/layout/orgChart1"/>
    <dgm:cxn modelId="{0C9C1E18-6EC5-4F1D-8EB1-142D6587E9B8}" type="presParOf" srcId="{FF10DB19-2D38-4AA7-9618-B663B1423350}" destId="{9D8527AD-E679-4383-8B4C-CC91C60E6EE1}" srcOrd="3" destOrd="0" presId="urn:microsoft.com/office/officeart/2005/8/layout/orgChart1"/>
    <dgm:cxn modelId="{AF9E62B1-7318-476B-9E69-1969F31F6530}" type="presParOf" srcId="{9D8527AD-E679-4383-8B4C-CC91C60E6EE1}" destId="{1190FBA8-42EB-46E4-8E8B-EB5519E379A6}" srcOrd="0" destOrd="0" presId="urn:microsoft.com/office/officeart/2005/8/layout/orgChart1"/>
    <dgm:cxn modelId="{18A07F7D-FAFF-4A9E-9DB2-3F8724B6DEFA}" type="presParOf" srcId="{1190FBA8-42EB-46E4-8E8B-EB5519E379A6}" destId="{63FC501E-E654-41F7-BA6A-0BF70B2D3C70}" srcOrd="0" destOrd="0" presId="urn:microsoft.com/office/officeart/2005/8/layout/orgChart1"/>
    <dgm:cxn modelId="{875876B0-4565-4D0B-92F0-FF76296DA5CA}" type="presParOf" srcId="{1190FBA8-42EB-46E4-8E8B-EB5519E379A6}" destId="{2C7A89E5-BCC5-49F8-9C2E-B40770C21629}" srcOrd="1" destOrd="0" presId="urn:microsoft.com/office/officeart/2005/8/layout/orgChart1"/>
    <dgm:cxn modelId="{01303CBC-67FE-45E6-8C5B-B0EB90EE3010}" type="presParOf" srcId="{9D8527AD-E679-4383-8B4C-CC91C60E6EE1}" destId="{D826AFC1-BBC9-410E-B541-8B98E3D3FD15}" srcOrd="1" destOrd="0" presId="urn:microsoft.com/office/officeart/2005/8/layout/orgChart1"/>
    <dgm:cxn modelId="{FA3332E2-0AEE-492D-8C64-3CF66860F13F}" type="presParOf" srcId="{D826AFC1-BBC9-410E-B541-8B98E3D3FD15}" destId="{7ECEA8CD-85C0-4A0E-A40C-3A0438CC7C86}" srcOrd="0" destOrd="0" presId="urn:microsoft.com/office/officeart/2005/8/layout/orgChart1"/>
    <dgm:cxn modelId="{B90A8A8F-F614-460A-93C8-0E8AEC8CFB38}" type="presParOf" srcId="{D826AFC1-BBC9-410E-B541-8B98E3D3FD15}" destId="{87812549-AABF-4D73-9A8B-37EBF8EF116C}" srcOrd="1" destOrd="0" presId="urn:microsoft.com/office/officeart/2005/8/layout/orgChart1"/>
    <dgm:cxn modelId="{B121F2C8-10D0-4A3F-AAD9-887FB6613669}" type="presParOf" srcId="{87812549-AABF-4D73-9A8B-37EBF8EF116C}" destId="{3415D6A5-33D8-42A5-AD9D-A1E1F4776985}" srcOrd="0" destOrd="0" presId="urn:microsoft.com/office/officeart/2005/8/layout/orgChart1"/>
    <dgm:cxn modelId="{7B19D970-55B8-4BB0-9C25-5D861DE2437F}" type="presParOf" srcId="{3415D6A5-33D8-42A5-AD9D-A1E1F4776985}" destId="{F262B25E-D781-4D44-82CD-CC9D501578F2}" srcOrd="0" destOrd="0" presId="urn:microsoft.com/office/officeart/2005/8/layout/orgChart1"/>
    <dgm:cxn modelId="{BD73A469-2A9D-4197-804D-346B88C5BD03}" type="presParOf" srcId="{3415D6A5-33D8-42A5-AD9D-A1E1F4776985}" destId="{304D762D-C028-4DB9-B788-4204A181D9A3}" srcOrd="1" destOrd="0" presId="urn:microsoft.com/office/officeart/2005/8/layout/orgChart1"/>
    <dgm:cxn modelId="{AA0B3F70-0107-46C7-A4F5-DB3D5F1780FC}" type="presParOf" srcId="{87812549-AABF-4D73-9A8B-37EBF8EF116C}" destId="{2FEEEB36-A297-473C-B198-562323531387}" srcOrd="1" destOrd="0" presId="urn:microsoft.com/office/officeart/2005/8/layout/orgChart1"/>
    <dgm:cxn modelId="{02E893F4-24E2-4909-8767-7CC7E41ABBD7}" type="presParOf" srcId="{87812549-AABF-4D73-9A8B-37EBF8EF116C}" destId="{A33A5E1E-951D-4041-9E5F-120E0E95505E}" srcOrd="2" destOrd="0" presId="urn:microsoft.com/office/officeart/2005/8/layout/orgChart1"/>
    <dgm:cxn modelId="{1D4182D7-EC57-4CE6-A38E-32A80BC268A4}" type="presParOf" srcId="{D826AFC1-BBC9-410E-B541-8B98E3D3FD15}" destId="{610B7A79-132C-4674-BEC6-DB17C8FE71CA}" srcOrd="2" destOrd="0" presId="urn:microsoft.com/office/officeart/2005/8/layout/orgChart1"/>
    <dgm:cxn modelId="{BAD2080C-AA7A-4D27-A761-919FB771E054}" type="presParOf" srcId="{D826AFC1-BBC9-410E-B541-8B98E3D3FD15}" destId="{EFF9300A-F41C-447E-9B35-8848F9226025}" srcOrd="3" destOrd="0" presId="urn:microsoft.com/office/officeart/2005/8/layout/orgChart1"/>
    <dgm:cxn modelId="{6C3C267D-C577-4341-BC22-3427821F4559}" type="presParOf" srcId="{EFF9300A-F41C-447E-9B35-8848F9226025}" destId="{586FCB4C-1C23-4C55-A4FC-2B9CB27DA8D2}" srcOrd="0" destOrd="0" presId="urn:microsoft.com/office/officeart/2005/8/layout/orgChart1"/>
    <dgm:cxn modelId="{2A08DF3F-2975-43BC-929D-8FFD1187E4B9}" type="presParOf" srcId="{586FCB4C-1C23-4C55-A4FC-2B9CB27DA8D2}" destId="{1B48FE02-8066-4510-AB7C-F56BD51BDF4B}" srcOrd="0" destOrd="0" presId="urn:microsoft.com/office/officeart/2005/8/layout/orgChart1"/>
    <dgm:cxn modelId="{26B05DE8-F2D9-4AED-AD1F-719EC278E18D}" type="presParOf" srcId="{586FCB4C-1C23-4C55-A4FC-2B9CB27DA8D2}" destId="{F175C515-C5ED-4B79-BB93-B05E49C0C9B4}" srcOrd="1" destOrd="0" presId="urn:microsoft.com/office/officeart/2005/8/layout/orgChart1"/>
    <dgm:cxn modelId="{A0E07662-DDB9-4C7E-B42E-03260B6C5C54}" type="presParOf" srcId="{EFF9300A-F41C-447E-9B35-8848F9226025}" destId="{79FB3EC3-D2A3-4A0E-86AC-9457964357E2}" srcOrd="1" destOrd="0" presId="urn:microsoft.com/office/officeart/2005/8/layout/orgChart1"/>
    <dgm:cxn modelId="{F43228E3-2352-45E3-8B5F-673F17DEBFBD}" type="presParOf" srcId="{EFF9300A-F41C-447E-9B35-8848F9226025}" destId="{7A17123B-F7FA-4082-897A-3A81A00B25F8}" srcOrd="2" destOrd="0" presId="urn:microsoft.com/office/officeart/2005/8/layout/orgChart1"/>
    <dgm:cxn modelId="{FE888AB5-0FE1-4B56-BD6A-19D3D32B1AB4}" type="presParOf" srcId="{9D8527AD-E679-4383-8B4C-CC91C60E6EE1}" destId="{7A919AB5-DA74-427B-B2CE-A7E19C5F2F89}" srcOrd="2" destOrd="0" presId="urn:microsoft.com/office/officeart/2005/8/layout/orgChart1"/>
    <dgm:cxn modelId="{6D26459C-4DBF-49E7-96EA-C6AE80D2E477}" type="presParOf" srcId="{FF10DB19-2D38-4AA7-9618-B663B1423350}" destId="{4C90B3C0-311B-4985-BF2C-4868A2BA2053}" srcOrd="4" destOrd="0" presId="urn:microsoft.com/office/officeart/2005/8/layout/orgChart1"/>
    <dgm:cxn modelId="{85972F11-2600-40F7-B972-A066FDEA2C3A}" type="presParOf" srcId="{FF10DB19-2D38-4AA7-9618-B663B1423350}" destId="{25704ECB-93D8-4AAC-B943-6E7B88880350}" srcOrd="5" destOrd="0" presId="urn:microsoft.com/office/officeart/2005/8/layout/orgChart1"/>
    <dgm:cxn modelId="{A630E923-FBFD-484A-9859-7902AF5FD571}" type="presParOf" srcId="{25704ECB-93D8-4AAC-B943-6E7B88880350}" destId="{1F5B4E8F-4078-402B-8BF9-03AF95F29C06}" srcOrd="0" destOrd="0" presId="urn:microsoft.com/office/officeart/2005/8/layout/orgChart1"/>
    <dgm:cxn modelId="{7F3BFF49-E533-4DDB-9508-C7DB8E86AD43}" type="presParOf" srcId="{1F5B4E8F-4078-402B-8BF9-03AF95F29C06}" destId="{7E66F63D-8FA6-42BB-A62A-C349B7EA69C6}" srcOrd="0" destOrd="0" presId="urn:microsoft.com/office/officeart/2005/8/layout/orgChart1"/>
    <dgm:cxn modelId="{24BF8FEE-9E44-4E90-871E-C6275F494D0A}" type="presParOf" srcId="{1F5B4E8F-4078-402B-8BF9-03AF95F29C06}" destId="{BC10B860-36A0-4961-8079-9E6BE51EC74E}" srcOrd="1" destOrd="0" presId="urn:microsoft.com/office/officeart/2005/8/layout/orgChart1"/>
    <dgm:cxn modelId="{84F820F0-04C7-4E74-A64C-0C44B856B6EF}" type="presParOf" srcId="{25704ECB-93D8-4AAC-B943-6E7B88880350}" destId="{A346BA09-C0FB-44FE-94ED-E84F1458A182}" srcOrd="1" destOrd="0" presId="urn:microsoft.com/office/officeart/2005/8/layout/orgChart1"/>
    <dgm:cxn modelId="{A6C85868-9139-4D41-92F0-8F868F73B1BE}" type="presParOf" srcId="{A346BA09-C0FB-44FE-94ED-E84F1458A182}" destId="{3BCCE23A-CC94-4B5F-B13D-CB73BFAE0403}" srcOrd="0" destOrd="0" presId="urn:microsoft.com/office/officeart/2005/8/layout/orgChart1"/>
    <dgm:cxn modelId="{ABB0EE79-22BE-4942-BEB2-1A43D4F913A2}" type="presParOf" srcId="{A346BA09-C0FB-44FE-94ED-E84F1458A182}" destId="{DD13E5E2-1B9C-48EC-990C-B31E25E119BE}" srcOrd="1" destOrd="0" presId="urn:microsoft.com/office/officeart/2005/8/layout/orgChart1"/>
    <dgm:cxn modelId="{3FEBE8A9-6304-4FDE-864C-99AC76E23DAF}" type="presParOf" srcId="{DD13E5E2-1B9C-48EC-990C-B31E25E119BE}" destId="{93488B8D-5BB0-4299-8DA0-2B61FC1C7E27}" srcOrd="0" destOrd="0" presId="urn:microsoft.com/office/officeart/2005/8/layout/orgChart1"/>
    <dgm:cxn modelId="{DC8B1462-31F9-4795-8449-637B8A5416C7}" type="presParOf" srcId="{93488B8D-5BB0-4299-8DA0-2B61FC1C7E27}" destId="{A45277E3-0420-4505-9B32-E8C33D91C7D0}" srcOrd="0" destOrd="0" presId="urn:microsoft.com/office/officeart/2005/8/layout/orgChart1"/>
    <dgm:cxn modelId="{344AE065-8C6B-4377-A9B7-8F734A2A5D17}" type="presParOf" srcId="{93488B8D-5BB0-4299-8DA0-2B61FC1C7E27}" destId="{878837BE-515B-4E24-ACD3-D8817605E4AB}" srcOrd="1" destOrd="0" presId="urn:microsoft.com/office/officeart/2005/8/layout/orgChart1"/>
    <dgm:cxn modelId="{2BF842B1-B489-45C5-A1B5-95CFAC029732}" type="presParOf" srcId="{DD13E5E2-1B9C-48EC-990C-B31E25E119BE}" destId="{ABB5CCF0-7395-4275-BC58-78BEDCAA79DD}" srcOrd="1" destOrd="0" presId="urn:microsoft.com/office/officeart/2005/8/layout/orgChart1"/>
    <dgm:cxn modelId="{F90633E2-6F40-4174-B521-3C33A6A8D6C1}" type="presParOf" srcId="{DD13E5E2-1B9C-48EC-990C-B31E25E119BE}" destId="{F3540024-B84F-40BC-B39D-B662F19D393D}" srcOrd="2" destOrd="0" presId="urn:microsoft.com/office/officeart/2005/8/layout/orgChart1"/>
    <dgm:cxn modelId="{52B5FAF1-EED7-4E95-9EB4-8B52ED74B059}" type="presParOf" srcId="{A346BA09-C0FB-44FE-94ED-E84F1458A182}" destId="{B02AF2FA-B901-4EBD-A0F4-874AF10956EF}" srcOrd="2" destOrd="0" presId="urn:microsoft.com/office/officeart/2005/8/layout/orgChart1"/>
    <dgm:cxn modelId="{3FCF2597-0893-401E-A2F8-65772C1C7E64}" type="presParOf" srcId="{A346BA09-C0FB-44FE-94ED-E84F1458A182}" destId="{72CDDCAC-BB36-4AAE-B3BF-1B846EA96B34}" srcOrd="3" destOrd="0" presId="urn:microsoft.com/office/officeart/2005/8/layout/orgChart1"/>
    <dgm:cxn modelId="{9F0BDA6A-ECAB-478E-B508-75E27FA4989D}" type="presParOf" srcId="{72CDDCAC-BB36-4AAE-B3BF-1B846EA96B34}" destId="{31FBD8F7-91CD-43D0-BAA1-D10C1D1BCFB7}" srcOrd="0" destOrd="0" presId="urn:microsoft.com/office/officeart/2005/8/layout/orgChart1"/>
    <dgm:cxn modelId="{FF04D402-FC53-49FD-B996-C93A22983F71}" type="presParOf" srcId="{31FBD8F7-91CD-43D0-BAA1-D10C1D1BCFB7}" destId="{619A917E-2FE0-4D54-B500-A6523829D53A}" srcOrd="0" destOrd="0" presId="urn:microsoft.com/office/officeart/2005/8/layout/orgChart1"/>
    <dgm:cxn modelId="{804FFFE1-F3B2-4A05-A287-A8BF6A0DDE9B}" type="presParOf" srcId="{31FBD8F7-91CD-43D0-BAA1-D10C1D1BCFB7}" destId="{BF899FC6-68C7-4D71-8AE0-335BD5724311}" srcOrd="1" destOrd="0" presId="urn:microsoft.com/office/officeart/2005/8/layout/orgChart1"/>
    <dgm:cxn modelId="{DA6D0975-4238-490A-97AE-B27A8D888F9E}" type="presParOf" srcId="{72CDDCAC-BB36-4AAE-B3BF-1B846EA96B34}" destId="{FD127D19-4418-4D3A-BC7A-07E55F66BE31}" srcOrd="1" destOrd="0" presId="urn:microsoft.com/office/officeart/2005/8/layout/orgChart1"/>
    <dgm:cxn modelId="{70B3AE30-67F6-41D2-AD86-C2CCE7BB8585}" type="presParOf" srcId="{72CDDCAC-BB36-4AAE-B3BF-1B846EA96B34}" destId="{D642D2B4-3B37-47B7-9C6D-BEC85B949A6B}" srcOrd="2" destOrd="0" presId="urn:microsoft.com/office/officeart/2005/8/layout/orgChart1"/>
    <dgm:cxn modelId="{08CEA2A0-3A86-46F2-936E-064631FD1462}" type="presParOf" srcId="{25704ECB-93D8-4AAC-B943-6E7B88880350}" destId="{53FCCA26-0AD4-4E48-8CE6-79774A255829}" srcOrd="2" destOrd="0" presId="urn:microsoft.com/office/officeart/2005/8/layout/orgChart1"/>
    <dgm:cxn modelId="{5D5A09AA-10F1-4674-B4CC-F287158B4F1D}" type="presParOf" srcId="{00081117-45A1-413A-B1E7-872F21D2B3AC}" destId="{5547612A-B87B-4711-B96B-893E928EC160}" srcOrd="2" destOrd="0" presId="urn:microsoft.com/office/officeart/2005/8/layout/orgChart1"/>
    <dgm:cxn modelId="{95B3316C-5D8E-41FD-8D9B-2E73CCB8BB0F}" type="presParOf" srcId="{7CEDCA83-5FB1-4912-AF43-4BFEBFF2F37F}" destId="{F43736C3-DC97-41E9-A92D-0C87CF3D4CE0}" srcOrd="2" destOrd="0" presId="urn:microsoft.com/office/officeart/2005/8/layout/orgChart1"/>
    <dgm:cxn modelId="{944ABAB0-58F5-4E0A-8DB3-48F6BA81D0A6}" type="presParOf" srcId="{7CEDCA83-5FB1-4912-AF43-4BFEBFF2F37F}" destId="{BED3E687-68AB-403D-B426-F32C7E996598}" srcOrd="3" destOrd="0" presId="urn:microsoft.com/office/officeart/2005/8/layout/orgChart1"/>
    <dgm:cxn modelId="{FBBB0C84-3198-4972-B651-B52090EA6DF2}" type="presParOf" srcId="{BED3E687-68AB-403D-B426-F32C7E996598}" destId="{74761613-E4D7-4D7F-B11A-FA9A8563FEDB}" srcOrd="0" destOrd="0" presId="urn:microsoft.com/office/officeart/2005/8/layout/orgChart1"/>
    <dgm:cxn modelId="{F0F157CB-9F95-4482-8FAB-BE5343D381BF}" type="presParOf" srcId="{74761613-E4D7-4D7F-B11A-FA9A8563FEDB}" destId="{8C3924C6-95D7-4CDA-A998-F6CD342F1665}" srcOrd="0" destOrd="0" presId="urn:microsoft.com/office/officeart/2005/8/layout/orgChart1"/>
    <dgm:cxn modelId="{7FDF12B1-95F4-4F10-87B5-15F9AE1CC193}" type="presParOf" srcId="{74761613-E4D7-4D7F-B11A-FA9A8563FEDB}" destId="{D76FD241-CC1D-4310-89BD-442A5810C12B}" srcOrd="1" destOrd="0" presId="urn:microsoft.com/office/officeart/2005/8/layout/orgChart1"/>
    <dgm:cxn modelId="{14B8D946-022B-4DB8-9B00-9E8672BE61E8}" type="presParOf" srcId="{BED3E687-68AB-403D-B426-F32C7E996598}" destId="{9D6BDA83-545E-4F18-B532-2B1183EDC461}" srcOrd="1" destOrd="0" presId="urn:microsoft.com/office/officeart/2005/8/layout/orgChart1"/>
    <dgm:cxn modelId="{473ED028-402A-402D-9393-1DE8C3F6DB1A}" type="presParOf" srcId="{9D6BDA83-545E-4F18-B532-2B1183EDC461}" destId="{03B7BB75-3081-4A5F-AE84-D0A5017A250E}" srcOrd="0" destOrd="0" presId="urn:microsoft.com/office/officeart/2005/8/layout/orgChart1"/>
    <dgm:cxn modelId="{1A86B039-E9E6-4CA2-819F-458C43392208}" type="presParOf" srcId="{9D6BDA83-545E-4F18-B532-2B1183EDC461}" destId="{AAE82C01-9B1E-4BDB-9AA6-F49DF2A6D565}" srcOrd="1" destOrd="0" presId="urn:microsoft.com/office/officeart/2005/8/layout/orgChart1"/>
    <dgm:cxn modelId="{B68897B4-060E-41EE-AB6C-4AD225C5A27C}" type="presParOf" srcId="{AAE82C01-9B1E-4BDB-9AA6-F49DF2A6D565}" destId="{789F8C9E-6D9D-4A5F-B33E-CF2CDDC0FE07}" srcOrd="0" destOrd="0" presId="urn:microsoft.com/office/officeart/2005/8/layout/orgChart1"/>
    <dgm:cxn modelId="{24CA77F9-21E6-4E9A-B6DA-FCDBD237F682}" type="presParOf" srcId="{789F8C9E-6D9D-4A5F-B33E-CF2CDDC0FE07}" destId="{5677D944-029C-484C-80A5-13BC10A104E4}" srcOrd="0" destOrd="0" presId="urn:microsoft.com/office/officeart/2005/8/layout/orgChart1"/>
    <dgm:cxn modelId="{C0D9219B-1074-4799-995A-00230BD2131B}" type="presParOf" srcId="{789F8C9E-6D9D-4A5F-B33E-CF2CDDC0FE07}" destId="{DED8561A-5A8E-4CBE-8FC6-607A83CFC3C4}" srcOrd="1" destOrd="0" presId="urn:microsoft.com/office/officeart/2005/8/layout/orgChart1"/>
    <dgm:cxn modelId="{29911AAA-7BF0-470E-BD06-FBCE70CDFDAF}" type="presParOf" srcId="{AAE82C01-9B1E-4BDB-9AA6-F49DF2A6D565}" destId="{3831CA35-AD51-4A69-83E3-FF0577D16A5E}" srcOrd="1" destOrd="0" presId="urn:microsoft.com/office/officeart/2005/8/layout/orgChart1"/>
    <dgm:cxn modelId="{08210C97-1693-46F9-ADFD-B7CBA4C6E33F}" type="presParOf" srcId="{AAE82C01-9B1E-4BDB-9AA6-F49DF2A6D565}" destId="{82A76FF6-95A5-4DEA-B163-853D1B7CC810}" srcOrd="2" destOrd="0" presId="urn:microsoft.com/office/officeart/2005/8/layout/orgChart1"/>
    <dgm:cxn modelId="{530B9CB6-F3F5-437C-87E8-E5B0AF36831E}" type="presParOf" srcId="{9D6BDA83-545E-4F18-B532-2B1183EDC461}" destId="{F0E31743-868F-406B-876C-6B11BD573394}" srcOrd="2" destOrd="0" presId="urn:microsoft.com/office/officeart/2005/8/layout/orgChart1"/>
    <dgm:cxn modelId="{C09FF4BB-035C-43AC-8F76-B9D742863444}" type="presParOf" srcId="{9D6BDA83-545E-4F18-B532-2B1183EDC461}" destId="{E6309739-1F4D-4497-827A-E880C3DCA78F}" srcOrd="3" destOrd="0" presId="urn:microsoft.com/office/officeart/2005/8/layout/orgChart1"/>
    <dgm:cxn modelId="{FBE2A05E-A23A-42F2-8C5D-E6F0CD764B79}" type="presParOf" srcId="{E6309739-1F4D-4497-827A-E880C3DCA78F}" destId="{66E01AAD-E40B-443E-A412-2B238AC2E416}" srcOrd="0" destOrd="0" presId="urn:microsoft.com/office/officeart/2005/8/layout/orgChart1"/>
    <dgm:cxn modelId="{A5B6FC41-D078-4DD8-B27D-D3B74B702FDF}" type="presParOf" srcId="{66E01AAD-E40B-443E-A412-2B238AC2E416}" destId="{B29D70E0-3C5F-46EB-8055-DA38CAFC89E3}" srcOrd="0" destOrd="0" presId="urn:microsoft.com/office/officeart/2005/8/layout/orgChart1"/>
    <dgm:cxn modelId="{8ECED437-D2D1-490F-A4D5-10F79A704D0D}" type="presParOf" srcId="{66E01AAD-E40B-443E-A412-2B238AC2E416}" destId="{6816DE47-4E45-46F7-8F85-34A9EBE7EE9B}" srcOrd="1" destOrd="0" presId="urn:microsoft.com/office/officeart/2005/8/layout/orgChart1"/>
    <dgm:cxn modelId="{70A45D2D-DE66-418D-A1ED-E8D9C21AD59B}" type="presParOf" srcId="{E6309739-1F4D-4497-827A-E880C3DCA78F}" destId="{6DF654DC-2FE0-4E06-B768-981E5096B814}" srcOrd="1" destOrd="0" presId="urn:microsoft.com/office/officeart/2005/8/layout/orgChart1"/>
    <dgm:cxn modelId="{D4E9C246-B5A1-47C6-8EF9-28753FAF5315}" type="presParOf" srcId="{E6309739-1F4D-4497-827A-E880C3DCA78F}" destId="{0EDBE25F-D8CF-4E86-A4A2-A241FF863533}" srcOrd="2" destOrd="0" presId="urn:microsoft.com/office/officeart/2005/8/layout/orgChart1"/>
    <dgm:cxn modelId="{7991F1DE-E743-4D0D-9BC0-5FD2A6ED3CCB}" type="presParOf" srcId="{9D6BDA83-545E-4F18-B532-2B1183EDC461}" destId="{2A7675F5-2BBC-4E57-B900-715F59D6F9D8}" srcOrd="4" destOrd="0" presId="urn:microsoft.com/office/officeart/2005/8/layout/orgChart1"/>
    <dgm:cxn modelId="{301BFE3F-3F19-44F4-AD08-AEAFD2797975}" type="presParOf" srcId="{9D6BDA83-545E-4F18-B532-2B1183EDC461}" destId="{A634CCD9-7842-43F4-ADA7-3C411BE8E635}" srcOrd="5" destOrd="0" presId="urn:microsoft.com/office/officeart/2005/8/layout/orgChart1"/>
    <dgm:cxn modelId="{B5FA0561-E54E-458F-84DF-F9F2DE6C026E}" type="presParOf" srcId="{A634CCD9-7842-43F4-ADA7-3C411BE8E635}" destId="{A4BA754F-913A-4181-ADB5-181FB8C05FF8}" srcOrd="0" destOrd="0" presId="urn:microsoft.com/office/officeart/2005/8/layout/orgChart1"/>
    <dgm:cxn modelId="{2B29A4A3-295D-4AD0-A394-CD81D646561B}" type="presParOf" srcId="{A4BA754F-913A-4181-ADB5-181FB8C05FF8}" destId="{313ED6A2-462B-4141-834D-9A74299512E5}" srcOrd="0" destOrd="0" presId="urn:microsoft.com/office/officeart/2005/8/layout/orgChart1"/>
    <dgm:cxn modelId="{ADF75123-6337-4766-8EE2-F05D58BB6964}" type="presParOf" srcId="{A4BA754F-913A-4181-ADB5-181FB8C05FF8}" destId="{03E8E9C7-25A4-4E24-9CA9-CB63D43604DC}" srcOrd="1" destOrd="0" presId="urn:microsoft.com/office/officeart/2005/8/layout/orgChart1"/>
    <dgm:cxn modelId="{BFB6CAAA-EFED-43CB-9025-FE7BE34AC08F}" type="presParOf" srcId="{A634CCD9-7842-43F4-ADA7-3C411BE8E635}" destId="{78F9D844-8FE7-41F6-8F3A-CF84557DC90F}" srcOrd="1" destOrd="0" presId="urn:microsoft.com/office/officeart/2005/8/layout/orgChart1"/>
    <dgm:cxn modelId="{C6A937A3-508B-4815-BEE3-A7A28B3D49E6}" type="presParOf" srcId="{A634CCD9-7842-43F4-ADA7-3C411BE8E635}" destId="{6949C889-9FDE-4745-9E32-1FB0017B7EB5}" srcOrd="2" destOrd="0" presId="urn:microsoft.com/office/officeart/2005/8/layout/orgChart1"/>
    <dgm:cxn modelId="{3089049D-5DB4-4F2F-928E-8496C4295F81}" type="presParOf" srcId="{BED3E687-68AB-403D-B426-F32C7E996598}" destId="{5616E69B-D4D1-4D6E-9D00-2C6F18F25F19}" srcOrd="2" destOrd="0" presId="urn:microsoft.com/office/officeart/2005/8/layout/orgChart1"/>
    <dgm:cxn modelId="{FA7FE388-D985-40DD-B026-D9D24E2EF791}" type="presParOf" srcId="{7CEDCA83-5FB1-4912-AF43-4BFEBFF2F37F}" destId="{5F082D60-CC48-413C-8900-CCAAFA96DCD6}" srcOrd="4" destOrd="0" presId="urn:microsoft.com/office/officeart/2005/8/layout/orgChart1"/>
    <dgm:cxn modelId="{8819AAD9-5710-4C04-BA22-9B83F39F193F}" type="presParOf" srcId="{7CEDCA83-5FB1-4912-AF43-4BFEBFF2F37F}" destId="{04EC3DAB-18E8-4156-B8E4-4C59A7143B86}" srcOrd="5" destOrd="0" presId="urn:microsoft.com/office/officeart/2005/8/layout/orgChart1"/>
    <dgm:cxn modelId="{8F99B366-6D2D-43F5-8B34-33EC43C8AC35}" type="presParOf" srcId="{04EC3DAB-18E8-4156-B8E4-4C59A7143B86}" destId="{8E6DCB4B-A124-4449-B56C-9A28D31B941E}" srcOrd="0" destOrd="0" presId="urn:microsoft.com/office/officeart/2005/8/layout/orgChart1"/>
    <dgm:cxn modelId="{1F2F1E08-05C8-4E57-BE88-95F2A5F774A8}" type="presParOf" srcId="{8E6DCB4B-A124-4449-B56C-9A28D31B941E}" destId="{FB8A078E-B2AD-4CEF-B649-EE1D8B296623}" srcOrd="0" destOrd="0" presId="urn:microsoft.com/office/officeart/2005/8/layout/orgChart1"/>
    <dgm:cxn modelId="{258852DC-23FD-460A-A930-ECFF85507842}" type="presParOf" srcId="{8E6DCB4B-A124-4449-B56C-9A28D31B941E}" destId="{E6CDEAD0-CEC9-44F0-B32C-36EE4AF57253}" srcOrd="1" destOrd="0" presId="urn:microsoft.com/office/officeart/2005/8/layout/orgChart1"/>
    <dgm:cxn modelId="{59F272DE-2E21-40E5-B009-7A671DB03800}" type="presParOf" srcId="{04EC3DAB-18E8-4156-B8E4-4C59A7143B86}" destId="{14C75AB6-196D-4B11-ADB5-CBA632972A58}" srcOrd="1" destOrd="0" presId="urn:microsoft.com/office/officeart/2005/8/layout/orgChart1"/>
    <dgm:cxn modelId="{4D8E457E-9E1D-4CB9-BC39-D1C058CEFB20}" type="presParOf" srcId="{14C75AB6-196D-4B11-ADB5-CBA632972A58}" destId="{374A45A3-F760-4C0A-96C3-EA44E0B95103}" srcOrd="0" destOrd="0" presId="urn:microsoft.com/office/officeart/2005/8/layout/orgChart1"/>
    <dgm:cxn modelId="{26363A77-BD99-49BE-A807-72042035FCB5}" type="presParOf" srcId="{14C75AB6-196D-4B11-ADB5-CBA632972A58}" destId="{B38A7F84-4BFD-4C12-8AD6-B8057318B1AB}" srcOrd="1" destOrd="0" presId="urn:microsoft.com/office/officeart/2005/8/layout/orgChart1"/>
    <dgm:cxn modelId="{65D37B62-1A8C-4018-91E7-1383F2C6A799}" type="presParOf" srcId="{B38A7F84-4BFD-4C12-8AD6-B8057318B1AB}" destId="{09539B0C-DD06-4B17-AD06-E1388041201E}" srcOrd="0" destOrd="0" presId="urn:microsoft.com/office/officeart/2005/8/layout/orgChart1"/>
    <dgm:cxn modelId="{B7AE323D-C947-4D60-9EC7-C435B375E16A}" type="presParOf" srcId="{09539B0C-DD06-4B17-AD06-E1388041201E}" destId="{5EF3B480-E935-4555-B3CF-B0EEC2DD1246}" srcOrd="0" destOrd="0" presId="urn:microsoft.com/office/officeart/2005/8/layout/orgChart1"/>
    <dgm:cxn modelId="{EC1B5F0E-E769-48EF-8E73-1C51C595B6B5}" type="presParOf" srcId="{09539B0C-DD06-4B17-AD06-E1388041201E}" destId="{EDDDFF92-DBE7-4D93-B07E-41CBE5E88BAD}" srcOrd="1" destOrd="0" presId="urn:microsoft.com/office/officeart/2005/8/layout/orgChart1"/>
    <dgm:cxn modelId="{DA10F858-EFD4-4AF1-A2F7-CF64B49288C8}" type="presParOf" srcId="{B38A7F84-4BFD-4C12-8AD6-B8057318B1AB}" destId="{D4F44F7A-5848-4FC9-842E-D2E4AA036C94}" srcOrd="1" destOrd="0" presId="urn:microsoft.com/office/officeart/2005/8/layout/orgChart1"/>
    <dgm:cxn modelId="{03E7D515-49BF-4153-9D63-25025931F068}" type="presParOf" srcId="{B38A7F84-4BFD-4C12-8AD6-B8057318B1AB}" destId="{D7807BFB-2334-4967-A9DF-396281E8F386}" srcOrd="2" destOrd="0" presId="urn:microsoft.com/office/officeart/2005/8/layout/orgChart1"/>
    <dgm:cxn modelId="{E547A4CA-8DB6-4EBF-BB76-D53937C37B58}" type="presParOf" srcId="{14C75AB6-196D-4B11-ADB5-CBA632972A58}" destId="{859C8F32-68AE-41D1-8F21-AF2ADD282176}" srcOrd="2" destOrd="0" presId="urn:microsoft.com/office/officeart/2005/8/layout/orgChart1"/>
    <dgm:cxn modelId="{54CACD5C-7436-4D00-A3D2-37EA542C25D9}" type="presParOf" srcId="{14C75AB6-196D-4B11-ADB5-CBA632972A58}" destId="{BFF9784B-3E0A-4CF9-BE9C-FC010035E70C}" srcOrd="3" destOrd="0" presId="urn:microsoft.com/office/officeart/2005/8/layout/orgChart1"/>
    <dgm:cxn modelId="{6FCC5280-CBF6-49F7-9C0C-EEBD09F93964}" type="presParOf" srcId="{BFF9784B-3E0A-4CF9-BE9C-FC010035E70C}" destId="{915A9CAB-388D-4A5A-A5CB-8F9551952D93}" srcOrd="0" destOrd="0" presId="urn:microsoft.com/office/officeart/2005/8/layout/orgChart1"/>
    <dgm:cxn modelId="{51B0ACA8-AB1C-481D-819D-C774BB3CC45E}" type="presParOf" srcId="{915A9CAB-388D-4A5A-A5CB-8F9551952D93}" destId="{A58FAC38-F844-4ED7-8E05-301D65C37F2F}" srcOrd="0" destOrd="0" presId="urn:microsoft.com/office/officeart/2005/8/layout/orgChart1"/>
    <dgm:cxn modelId="{4B7688D6-FC29-4E69-8944-4A90C9147C4C}" type="presParOf" srcId="{915A9CAB-388D-4A5A-A5CB-8F9551952D93}" destId="{4A49625A-EA0D-4080-8F6A-1E53C4CB449C}" srcOrd="1" destOrd="0" presId="urn:microsoft.com/office/officeart/2005/8/layout/orgChart1"/>
    <dgm:cxn modelId="{BFC6367B-2261-4394-8D3A-305C997918C7}" type="presParOf" srcId="{BFF9784B-3E0A-4CF9-BE9C-FC010035E70C}" destId="{AC26EC8E-592A-478E-A060-5EE3D973AA4C}" srcOrd="1" destOrd="0" presId="urn:microsoft.com/office/officeart/2005/8/layout/orgChart1"/>
    <dgm:cxn modelId="{03773AAE-DAF8-4665-A675-D5E0E1340E2F}" type="presParOf" srcId="{AC26EC8E-592A-478E-A060-5EE3D973AA4C}" destId="{AAF14733-7772-4221-A3F0-B49E68B56A28}" srcOrd="0" destOrd="0" presId="urn:microsoft.com/office/officeart/2005/8/layout/orgChart1"/>
    <dgm:cxn modelId="{9E090181-AA0A-405D-8BA0-48B0614BA03F}" type="presParOf" srcId="{AC26EC8E-592A-478E-A060-5EE3D973AA4C}" destId="{FFB51502-1036-4630-8505-3997E874DD93}" srcOrd="1" destOrd="0" presId="urn:microsoft.com/office/officeart/2005/8/layout/orgChart1"/>
    <dgm:cxn modelId="{0D99B481-678D-4007-B5DB-7476C983F05A}" type="presParOf" srcId="{FFB51502-1036-4630-8505-3997E874DD93}" destId="{C43C2852-48E8-4A5E-AD4E-EE7E64E812EB}" srcOrd="0" destOrd="0" presId="urn:microsoft.com/office/officeart/2005/8/layout/orgChart1"/>
    <dgm:cxn modelId="{6867FC5B-9DA2-4F5C-9B10-AF7392DBAF13}" type="presParOf" srcId="{C43C2852-48E8-4A5E-AD4E-EE7E64E812EB}" destId="{25C1F27A-1E2D-4892-BB4F-57A7E4F11EDF}" srcOrd="0" destOrd="0" presId="urn:microsoft.com/office/officeart/2005/8/layout/orgChart1"/>
    <dgm:cxn modelId="{06C2C549-4DD7-4619-B83F-FE2454F32AE4}" type="presParOf" srcId="{C43C2852-48E8-4A5E-AD4E-EE7E64E812EB}" destId="{DF1B4D46-6B4C-4E13-87A0-8C66A3638BAA}" srcOrd="1" destOrd="0" presId="urn:microsoft.com/office/officeart/2005/8/layout/orgChart1"/>
    <dgm:cxn modelId="{0C2F2629-F439-4777-9BEA-472ABB786CC3}" type="presParOf" srcId="{FFB51502-1036-4630-8505-3997E874DD93}" destId="{65966E55-D924-4D7D-A156-54B39C3F9ED4}" srcOrd="1" destOrd="0" presId="urn:microsoft.com/office/officeart/2005/8/layout/orgChart1"/>
    <dgm:cxn modelId="{B0F0DBB3-0ECA-48E8-8DB6-DAEA348DF2DE}" type="presParOf" srcId="{FFB51502-1036-4630-8505-3997E874DD93}" destId="{ACDB778C-B25A-4EEF-B245-0515846336BF}" srcOrd="2" destOrd="0" presId="urn:microsoft.com/office/officeart/2005/8/layout/orgChart1"/>
    <dgm:cxn modelId="{16CE4309-1560-4499-B551-B3FF9EAB4BEA}" type="presParOf" srcId="{AC26EC8E-592A-478E-A060-5EE3D973AA4C}" destId="{B6489E13-5EBB-46EA-BAD7-DF8FF1BD9538}" srcOrd="2" destOrd="0" presId="urn:microsoft.com/office/officeart/2005/8/layout/orgChart1"/>
    <dgm:cxn modelId="{5B023BCD-4C5F-4728-BD05-29225A2C15F0}" type="presParOf" srcId="{AC26EC8E-592A-478E-A060-5EE3D973AA4C}" destId="{A688714A-BC39-42F4-9BFE-238E07F857B5}" srcOrd="3" destOrd="0" presId="urn:microsoft.com/office/officeart/2005/8/layout/orgChart1"/>
    <dgm:cxn modelId="{B5C7FA57-3520-4B3C-B85E-CB66DF6820A9}" type="presParOf" srcId="{A688714A-BC39-42F4-9BFE-238E07F857B5}" destId="{EDDFF759-A286-4F50-AB2C-988002415CB9}" srcOrd="0" destOrd="0" presId="urn:microsoft.com/office/officeart/2005/8/layout/orgChart1"/>
    <dgm:cxn modelId="{E5C0FB04-A3FE-4D5B-A5CC-FB1061F8190B}" type="presParOf" srcId="{EDDFF759-A286-4F50-AB2C-988002415CB9}" destId="{DD7130DD-593A-4323-998D-55A96692D1AD}" srcOrd="0" destOrd="0" presId="urn:microsoft.com/office/officeart/2005/8/layout/orgChart1"/>
    <dgm:cxn modelId="{75802BA9-4A83-40F9-AF0A-7D73C3F2983B}" type="presParOf" srcId="{EDDFF759-A286-4F50-AB2C-988002415CB9}" destId="{CC79A65C-021F-416B-8170-45C80F66D6E8}" srcOrd="1" destOrd="0" presId="urn:microsoft.com/office/officeart/2005/8/layout/orgChart1"/>
    <dgm:cxn modelId="{75CDB94A-C054-4709-BDC6-9A668F66B158}" type="presParOf" srcId="{A688714A-BC39-42F4-9BFE-238E07F857B5}" destId="{1C655490-F002-4360-9641-2D59473C0E16}" srcOrd="1" destOrd="0" presId="urn:microsoft.com/office/officeart/2005/8/layout/orgChart1"/>
    <dgm:cxn modelId="{D8D559E7-C95E-4CC0-8599-F22FA45247F1}" type="presParOf" srcId="{A688714A-BC39-42F4-9BFE-238E07F857B5}" destId="{887821ED-2E3D-4444-8567-FECAC8D044DA}" srcOrd="2" destOrd="0" presId="urn:microsoft.com/office/officeart/2005/8/layout/orgChart1"/>
    <dgm:cxn modelId="{74864B1B-3D1E-4A93-AFD6-34C1F920C15A}" type="presParOf" srcId="{AC26EC8E-592A-478E-A060-5EE3D973AA4C}" destId="{AAB28D6A-8651-4C2D-A93F-547F675057B1}" srcOrd="4" destOrd="0" presId="urn:microsoft.com/office/officeart/2005/8/layout/orgChart1"/>
    <dgm:cxn modelId="{6DFA06E1-0116-45D4-B02D-C30030FADF5B}" type="presParOf" srcId="{AC26EC8E-592A-478E-A060-5EE3D973AA4C}" destId="{FDD37F11-1C21-4775-BDF3-129BCBC09A3A}" srcOrd="5" destOrd="0" presId="urn:microsoft.com/office/officeart/2005/8/layout/orgChart1"/>
    <dgm:cxn modelId="{AC7D29D8-5E05-404A-9793-F71BF5C8AB22}" type="presParOf" srcId="{FDD37F11-1C21-4775-BDF3-129BCBC09A3A}" destId="{FCD25E20-914E-4CE0-902C-00E98C43450B}" srcOrd="0" destOrd="0" presId="urn:microsoft.com/office/officeart/2005/8/layout/orgChart1"/>
    <dgm:cxn modelId="{45BA1E2D-4A69-45FE-A513-1EBF60E7F3C5}" type="presParOf" srcId="{FCD25E20-914E-4CE0-902C-00E98C43450B}" destId="{4C681653-6A95-44B8-8E18-604E239A8921}" srcOrd="0" destOrd="0" presId="urn:microsoft.com/office/officeart/2005/8/layout/orgChart1"/>
    <dgm:cxn modelId="{05F811EB-9F89-45B3-95F9-08FCCAB376EF}" type="presParOf" srcId="{FCD25E20-914E-4CE0-902C-00E98C43450B}" destId="{4A26C2DD-ECFA-481B-9EC4-D765867E3F5D}" srcOrd="1" destOrd="0" presId="urn:microsoft.com/office/officeart/2005/8/layout/orgChart1"/>
    <dgm:cxn modelId="{AF5E3350-9509-4472-BD1C-784B2030D704}" type="presParOf" srcId="{FDD37F11-1C21-4775-BDF3-129BCBC09A3A}" destId="{5597CB20-0B74-40E6-B3E3-0781339B0A29}" srcOrd="1" destOrd="0" presId="urn:microsoft.com/office/officeart/2005/8/layout/orgChart1"/>
    <dgm:cxn modelId="{4CAF8FDB-1339-4875-9A5B-F5852421E2CF}" type="presParOf" srcId="{FDD37F11-1C21-4775-BDF3-129BCBC09A3A}" destId="{6B8C6D94-65A1-4C27-AF0E-CB730DBB3943}" srcOrd="2" destOrd="0" presId="urn:microsoft.com/office/officeart/2005/8/layout/orgChart1"/>
    <dgm:cxn modelId="{DEE56CC4-B7FA-486E-B170-90AFB850101B}" type="presParOf" srcId="{BFF9784B-3E0A-4CF9-BE9C-FC010035E70C}" destId="{7C1E7FEE-F303-4C06-A5EA-4B89AB6E9F40}" srcOrd="2" destOrd="0" presId="urn:microsoft.com/office/officeart/2005/8/layout/orgChart1"/>
    <dgm:cxn modelId="{43E7A170-304A-44D5-BB99-3BB457C8B726}" type="presParOf" srcId="{04EC3DAB-18E8-4156-B8E4-4C59A7143B86}" destId="{292B17F6-3B17-409D-BDF6-F3FA5C93D47E}" srcOrd="2" destOrd="0" presId="urn:microsoft.com/office/officeart/2005/8/layout/orgChart1"/>
    <dgm:cxn modelId="{95FD20B0-9787-448D-9211-06061AE4F47F}" type="presParOf" srcId="{F6F7935D-6530-4593-AE5C-8F4559AFEF00}" destId="{09A91909-8447-4F2B-B1BB-18494BA2637D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26E1133-27F8-42A1-91FE-23383B9ACC99}" type="doc">
      <dgm:prSet loTypeId="urn:microsoft.com/office/officeart/2005/8/layout/orgChart1" loCatId="hierarchy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3BDC9E6-B3ED-4E11-B81F-A36F96CA06AD}">
      <dgm:prSet custT="1"/>
      <dgm:spPr/>
      <dgm:t>
        <a:bodyPr/>
        <a:lstStyle/>
        <a:p>
          <a:pPr rtl="0"/>
          <a:r>
            <a:rPr lang="en-US" sz="2000" dirty="0" smtClean="0"/>
            <a:t>Security</a:t>
          </a:r>
          <a:endParaRPr lang="en-US" sz="2000" dirty="0"/>
        </a:p>
      </dgm:t>
    </dgm:pt>
    <dgm:pt modelId="{818B4425-229C-4D05-BD73-F2583AB7B9C5}" type="parTrans" cxnId="{E040E2E2-F016-4F82-9927-EA3D62DA0F57}">
      <dgm:prSet/>
      <dgm:spPr/>
      <dgm:t>
        <a:bodyPr/>
        <a:lstStyle/>
        <a:p>
          <a:endParaRPr lang="en-US" sz="2000"/>
        </a:p>
      </dgm:t>
    </dgm:pt>
    <dgm:pt modelId="{A3D2AA9D-1D2C-45CA-9A99-0FD9E343747F}" type="sibTrans" cxnId="{E040E2E2-F016-4F82-9927-EA3D62DA0F57}">
      <dgm:prSet/>
      <dgm:spPr/>
      <dgm:t>
        <a:bodyPr/>
        <a:lstStyle/>
        <a:p>
          <a:endParaRPr lang="en-US" sz="2000"/>
        </a:p>
      </dgm:t>
    </dgm:pt>
    <dgm:pt modelId="{843E3B21-DC9F-4CF8-A7F1-93BF704E47A7}">
      <dgm:prSet custT="1"/>
      <dgm:spPr/>
      <dgm:t>
        <a:bodyPr/>
        <a:lstStyle/>
        <a:p>
          <a:pPr rtl="0"/>
          <a:r>
            <a:rPr lang="en-US" sz="1800" dirty="0" smtClean="0"/>
            <a:t>Detect</a:t>
          </a:r>
          <a:endParaRPr lang="en-US" sz="1800" dirty="0"/>
        </a:p>
      </dgm:t>
    </dgm:pt>
    <dgm:pt modelId="{3EEFE082-C4FA-499A-BA01-E4B8217A4B73}" type="parTrans" cxnId="{3C110BFF-FD87-473E-9985-0D9D761E60BD}">
      <dgm:prSet/>
      <dgm:spPr/>
      <dgm:t>
        <a:bodyPr/>
        <a:lstStyle/>
        <a:p>
          <a:endParaRPr lang="en-US" sz="2000"/>
        </a:p>
      </dgm:t>
    </dgm:pt>
    <dgm:pt modelId="{2992CB8F-FBF4-486F-BE86-7AEC96D28238}" type="sibTrans" cxnId="{3C110BFF-FD87-473E-9985-0D9D761E60BD}">
      <dgm:prSet/>
      <dgm:spPr/>
      <dgm:t>
        <a:bodyPr/>
        <a:lstStyle/>
        <a:p>
          <a:endParaRPr lang="en-US" sz="2000"/>
        </a:p>
      </dgm:t>
    </dgm:pt>
    <dgm:pt modelId="{A240A1E1-162D-4A6E-A806-B6FF45B3AB68}">
      <dgm:prSet custT="1"/>
      <dgm:spPr/>
      <dgm:t>
        <a:bodyPr/>
        <a:lstStyle/>
        <a:p>
          <a:pPr rtl="0"/>
          <a:r>
            <a:rPr lang="en-US" sz="1600" dirty="0" smtClean="0"/>
            <a:t>Revoke access</a:t>
          </a:r>
          <a:endParaRPr lang="en-US" sz="1600" dirty="0"/>
        </a:p>
      </dgm:t>
    </dgm:pt>
    <dgm:pt modelId="{F0BD47AB-7AC9-40A2-A96D-1A911EFDE7FF}" type="parTrans" cxnId="{CCB5AE26-70F4-4C5B-B53D-136E39A12AC5}">
      <dgm:prSet/>
      <dgm:spPr/>
      <dgm:t>
        <a:bodyPr/>
        <a:lstStyle/>
        <a:p>
          <a:endParaRPr lang="en-US" sz="2000"/>
        </a:p>
      </dgm:t>
    </dgm:pt>
    <dgm:pt modelId="{A12D77FB-8453-4F78-A007-65AD68966259}" type="sibTrans" cxnId="{CCB5AE26-70F4-4C5B-B53D-136E39A12AC5}">
      <dgm:prSet/>
      <dgm:spPr/>
      <dgm:t>
        <a:bodyPr/>
        <a:lstStyle/>
        <a:p>
          <a:endParaRPr lang="en-US" sz="2000"/>
        </a:p>
      </dgm:t>
    </dgm:pt>
    <dgm:pt modelId="{C35FC96E-9015-4790-BDC3-6E0D4D502FCB}">
      <dgm:prSet custT="1"/>
      <dgm:spPr/>
      <dgm:t>
        <a:bodyPr/>
        <a:lstStyle/>
        <a:p>
          <a:pPr rtl="0"/>
          <a:r>
            <a:rPr lang="en-US" sz="1800" dirty="0" smtClean="0"/>
            <a:t>Recover</a:t>
          </a:r>
          <a:endParaRPr lang="en-US" sz="1800" dirty="0"/>
        </a:p>
      </dgm:t>
    </dgm:pt>
    <dgm:pt modelId="{54165FB5-F7A3-4BBF-B199-2BE2BA410DE8}" type="parTrans" cxnId="{C159F786-ED38-476E-9CAF-598C4BA6A40C}">
      <dgm:prSet/>
      <dgm:spPr/>
      <dgm:t>
        <a:bodyPr/>
        <a:lstStyle/>
        <a:p>
          <a:endParaRPr lang="en-US" sz="2000"/>
        </a:p>
      </dgm:t>
    </dgm:pt>
    <dgm:pt modelId="{599E3296-C316-405C-B222-CEA737D995B5}" type="sibTrans" cxnId="{C159F786-ED38-476E-9CAF-598C4BA6A40C}">
      <dgm:prSet/>
      <dgm:spPr/>
      <dgm:t>
        <a:bodyPr/>
        <a:lstStyle/>
        <a:p>
          <a:endParaRPr lang="en-US" sz="2000"/>
        </a:p>
      </dgm:t>
    </dgm:pt>
    <dgm:pt modelId="{AFCA2418-8D6B-4E9C-BE52-FC74C908050F}">
      <dgm:prSet custT="1"/>
      <dgm:spPr/>
      <dgm:t>
        <a:bodyPr/>
        <a:lstStyle/>
        <a:p>
          <a:pPr rtl="0"/>
          <a:r>
            <a:rPr lang="en-US" sz="1600" b="0" u="none" dirty="0" smtClean="0"/>
            <a:t>Maintain Audit trail</a:t>
          </a:r>
          <a:endParaRPr lang="en-US" sz="1600" b="0" u="none" dirty="0"/>
        </a:p>
      </dgm:t>
    </dgm:pt>
    <dgm:pt modelId="{4E25AF54-5C18-4905-8913-7D1EA2AC6905}" type="parTrans" cxnId="{482DB792-4616-4429-8146-834A4E403FCA}">
      <dgm:prSet/>
      <dgm:spPr/>
      <dgm:t>
        <a:bodyPr/>
        <a:lstStyle/>
        <a:p>
          <a:endParaRPr lang="en-US" sz="2000"/>
        </a:p>
      </dgm:t>
    </dgm:pt>
    <dgm:pt modelId="{2863A287-FD1D-46AB-958E-D6DB7D840902}" type="sibTrans" cxnId="{482DB792-4616-4429-8146-834A4E403FCA}">
      <dgm:prSet/>
      <dgm:spPr/>
      <dgm:t>
        <a:bodyPr/>
        <a:lstStyle/>
        <a:p>
          <a:endParaRPr lang="en-US" sz="2000"/>
        </a:p>
      </dgm:t>
    </dgm:pt>
    <dgm:pt modelId="{E420C67E-C4C2-476B-9B47-FFB47D587009}">
      <dgm:prSet custT="1"/>
      <dgm:spPr/>
      <dgm:t>
        <a:bodyPr/>
        <a:lstStyle/>
        <a:p>
          <a:pPr rtl="0"/>
          <a:r>
            <a:rPr lang="en-US" sz="1800" dirty="0" smtClean="0"/>
            <a:t>Resist/ Prevent</a:t>
          </a:r>
          <a:endParaRPr lang="en-US" sz="1800" dirty="0"/>
        </a:p>
      </dgm:t>
    </dgm:pt>
    <dgm:pt modelId="{65D088B7-B36E-49AA-84B9-2BC51B326EA1}" type="parTrans" cxnId="{2AC6A1A2-FDAF-4C07-BF93-78DC05214544}">
      <dgm:prSet/>
      <dgm:spPr/>
      <dgm:t>
        <a:bodyPr/>
        <a:lstStyle/>
        <a:p>
          <a:endParaRPr lang="en-US"/>
        </a:p>
      </dgm:t>
    </dgm:pt>
    <dgm:pt modelId="{7CC715FB-928E-4CFE-A8F5-045F16B2D743}" type="sibTrans" cxnId="{2AC6A1A2-FDAF-4C07-BF93-78DC05214544}">
      <dgm:prSet/>
      <dgm:spPr/>
      <dgm:t>
        <a:bodyPr/>
        <a:lstStyle/>
        <a:p>
          <a:endParaRPr lang="en-US"/>
        </a:p>
      </dgm:t>
    </dgm:pt>
    <dgm:pt modelId="{1CE2D78B-C788-472A-8424-7F9A4AB5205E}">
      <dgm:prSet custT="1"/>
      <dgm:spPr/>
      <dgm:t>
        <a:bodyPr/>
        <a:lstStyle/>
        <a:p>
          <a:pPr rtl="0"/>
          <a:r>
            <a:rPr lang="en-US" sz="1800" dirty="0" smtClean="0"/>
            <a:t>React</a:t>
          </a:r>
          <a:endParaRPr lang="en-US" sz="1800" dirty="0"/>
        </a:p>
      </dgm:t>
    </dgm:pt>
    <dgm:pt modelId="{6ED4E1AA-EFDD-4E70-836E-3DB36084DE98}" type="parTrans" cxnId="{0D252A7C-EA88-478B-9AB7-96B65AE1E68A}">
      <dgm:prSet/>
      <dgm:spPr/>
      <dgm:t>
        <a:bodyPr/>
        <a:lstStyle/>
        <a:p>
          <a:endParaRPr lang="en-US"/>
        </a:p>
      </dgm:t>
    </dgm:pt>
    <dgm:pt modelId="{1D0F051B-C9A8-457A-BE08-985EF4C28172}" type="sibTrans" cxnId="{0D252A7C-EA88-478B-9AB7-96B65AE1E68A}">
      <dgm:prSet/>
      <dgm:spPr/>
      <dgm:t>
        <a:bodyPr/>
        <a:lstStyle/>
        <a:p>
          <a:endParaRPr lang="en-US"/>
        </a:p>
      </dgm:t>
    </dgm:pt>
    <dgm:pt modelId="{C6E107C8-C87F-4E03-9C51-3B0FC309122B}">
      <dgm:prSet custT="1"/>
      <dgm:spPr/>
      <dgm:t>
        <a:bodyPr/>
        <a:lstStyle/>
        <a:p>
          <a:pPr rtl="0"/>
          <a:r>
            <a:rPr lang="en-US" sz="1600" dirty="0" smtClean="0"/>
            <a:t>Restore</a:t>
          </a:r>
          <a:endParaRPr lang="en-US" sz="1600" dirty="0"/>
        </a:p>
      </dgm:t>
    </dgm:pt>
    <dgm:pt modelId="{645C00E4-762B-4277-AD48-4328B4AF7430}" type="parTrans" cxnId="{AF611182-AAE8-4190-BE35-A2473E50306B}">
      <dgm:prSet/>
      <dgm:spPr/>
      <dgm:t>
        <a:bodyPr/>
        <a:lstStyle/>
        <a:p>
          <a:endParaRPr lang="en-US"/>
        </a:p>
      </dgm:t>
    </dgm:pt>
    <dgm:pt modelId="{E622C44F-BC5B-49E7-9D58-720E5F6040E1}" type="sibTrans" cxnId="{AF611182-AAE8-4190-BE35-A2473E50306B}">
      <dgm:prSet/>
      <dgm:spPr/>
      <dgm:t>
        <a:bodyPr/>
        <a:lstStyle/>
        <a:p>
          <a:endParaRPr lang="en-US"/>
        </a:p>
      </dgm:t>
    </dgm:pt>
    <dgm:pt modelId="{09967023-FD4B-4E34-A1C9-A393B75E32BA}">
      <dgm:prSet custT="1"/>
      <dgm:spPr/>
      <dgm:t>
        <a:bodyPr/>
        <a:lstStyle/>
        <a:p>
          <a:pPr rtl="0"/>
          <a:r>
            <a:rPr lang="en-US" sz="1600" dirty="0" smtClean="0"/>
            <a:t>Use availability tactics</a:t>
          </a:r>
          <a:endParaRPr lang="en-US" sz="1600" dirty="0"/>
        </a:p>
      </dgm:t>
    </dgm:pt>
    <dgm:pt modelId="{28774598-E592-4921-B255-0225EB6D096E}" type="parTrans" cxnId="{DB925F6A-7761-4D5E-84C9-D63652FE2570}">
      <dgm:prSet/>
      <dgm:spPr/>
      <dgm:t>
        <a:bodyPr/>
        <a:lstStyle/>
        <a:p>
          <a:endParaRPr lang="en-US"/>
        </a:p>
      </dgm:t>
    </dgm:pt>
    <dgm:pt modelId="{0B7B4A03-7BEB-45DD-A62C-7505C5BC4A5B}" type="sibTrans" cxnId="{DB925F6A-7761-4D5E-84C9-D63652FE2570}">
      <dgm:prSet/>
      <dgm:spPr/>
      <dgm:t>
        <a:bodyPr/>
        <a:lstStyle/>
        <a:p>
          <a:endParaRPr lang="en-US"/>
        </a:p>
      </dgm:t>
    </dgm:pt>
    <dgm:pt modelId="{35016019-1F0E-47A9-A9CB-AE98C0AFCFC1}">
      <dgm:prSet custT="1"/>
      <dgm:spPr/>
      <dgm:t>
        <a:bodyPr/>
        <a:lstStyle/>
        <a:p>
          <a:pPr rtl="0"/>
          <a:r>
            <a:rPr lang="en-US" sz="1600" dirty="0" smtClean="0"/>
            <a:t>Lock system</a:t>
          </a:r>
          <a:endParaRPr lang="en-US" sz="1600" dirty="0"/>
        </a:p>
      </dgm:t>
    </dgm:pt>
    <dgm:pt modelId="{A60BCA66-49BB-4275-9110-8B471B3FC59B}" type="parTrans" cxnId="{F0C0AED6-3BFB-430A-84C4-C1842ECA49F1}">
      <dgm:prSet/>
      <dgm:spPr/>
      <dgm:t>
        <a:bodyPr/>
        <a:lstStyle/>
        <a:p>
          <a:endParaRPr lang="en-US"/>
        </a:p>
      </dgm:t>
    </dgm:pt>
    <dgm:pt modelId="{549EC933-326F-43C6-A4AD-B0C6604A5CF9}" type="sibTrans" cxnId="{F0C0AED6-3BFB-430A-84C4-C1842ECA49F1}">
      <dgm:prSet/>
      <dgm:spPr/>
      <dgm:t>
        <a:bodyPr/>
        <a:lstStyle/>
        <a:p>
          <a:endParaRPr lang="en-US"/>
        </a:p>
      </dgm:t>
    </dgm:pt>
    <dgm:pt modelId="{49742260-F14F-4BCB-8D88-ADD2EB5024EC}">
      <dgm:prSet custT="1"/>
      <dgm:spPr/>
      <dgm:t>
        <a:bodyPr/>
        <a:lstStyle/>
        <a:p>
          <a:pPr rtl="0"/>
          <a:r>
            <a:rPr lang="en-US" sz="1600" dirty="0" smtClean="0"/>
            <a:t>Alert actors</a:t>
          </a:r>
          <a:endParaRPr lang="en-US" sz="1600" dirty="0"/>
        </a:p>
      </dgm:t>
    </dgm:pt>
    <dgm:pt modelId="{9275B05E-F520-4192-9B33-84AEEBC3F62D}" type="parTrans" cxnId="{A0E66910-A417-4433-846A-E364FADC3533}">
      <dgm:prSet/>
      <dgm:spPr/>
      <dgm:t>
        <a:bodyPr/>
        <a:lstStyle/>
        <a:p>
          <a:endParaRPr lang="en-US"/>
        </a:p>
      </dgm:t>
    </dgm:pt>
    <dgm:pt modelId="{BDB94797-518D-4543-8D6F-13596FEC7A22}" type="sibTrans" cxnId="{A0E66910-A417-4433-846A-E364FADC3533}">
      <dgm:prSet/>
      <dgm:spPr/>
      <dgm:t>
        <a:bodyPr/>
        <a:lstStyle/>
        <a:p>
          <a:endParaRPr lang="en-US"/>
        </a:p>
      </dgm:t>
    </dgm:pt>
    <dgm:pt modelId="{0216D3CF-84E5-4443-8082-6C6C297E9A4D}">
      <dgm:prSet custT="1"/>
      <dgm:spPr/>
      <dgm:t>
        <a:bodyPr/>
        <a:lstStyle/>
        <a:p>
          <a:pPr rtl="0"/>
          <a:r>
            <a:rPr lang="en-US" sz="1600" dirty="0" smtClean="0"/>
            <a:t>Identify actors</a:t>
          </a:r>
          <a:endParaRPr lang="en-US" sz="1600" dirty="0"/>
        </a:p>
      </dgm:t>
    </dgm:pt>
    <dgm:pt modelId="{C3334397-F4C9-43FD-9DE7-786437A51BF8}" type="parTrans" cxnId="{EF17C288-FABF-470A-9F6E-6F1AC60C08BE}">
      <dgm:prSet/>
      <dgm:spPr/>
      <dgm:t>
        <a:bodyPr/>
        <a:lstStyle/>
        <a:p>
          <a:endParaRPr lang="en-US"/>
        </a:p>
      </dgm:t>
    </dgm:pt>
    <dgm:pt modelId="{9C27E3D0-AEBB-4C4C-AFEA-8F9AF608B21E}" type="sibTrans" cxnId="{EF17C288-FABF-470A-9F6E-6F1AC60C08BE}">
      <dgm:prSet/>
      <dgm:spPr/>
      <dgm:t>
        <a:bodyPr/>
        <a:lstStyle/>
        <a:p>
          <a:endParaRPr lang="en-US"/>
        </a:p>
      </dgm:t>
    </dgm:pt>
    <dgm:pt modelId="{90833815-F732-45AF-B735-7A208BE16A8A}">
      <dgm:prSet custT="1"/>
      <dgm:spPr/>
      <dgm:t>
        <a:bodyPr/>
        <a:lstStyle/>
        <a:p>
          <a:pPr rtl="0"/>
          <a:r>
            <a:rPr lang="en-US" sz="1600" dirty="0" smtClean="0"/>
            <a:t>Authenticate and authorize actors</a:t>
          </a:r>
          <a:endParaRPr lang="en-US" sz="1600" dirty="0"/>
        </a:p>
      </dgm:t>
    </dgm:pt>
    <dgm:pt modelId="{62301F5E-BDD5-4369-B9CF-5999FECA1C85}" type="parTrans" cxnId="{A630084D-67F8-48A7-9951-F46F3604D1B4}">
      <dgm:prSet/>
      <dgm:spPr/>
      <dgm:t>
        <a:bodyPr/>
        <a:lstStyle/>
        <a:p>
          <a:endParaRPr lang="en-US"/>
        </a:p>
      </dgm:t>
    </dgm:pt>
    <dgm:pt modelId="{7A88FAF5-FAAB-4848-B347-2B42AF8023FF}" type="sibTrans" cxnId="{A630084D-67F8-48A7-9951-F46F3604D1B4}">
      <dgm:prSet/>
      <dgm:spPr/>
      <dgm:t>
        <a:bodyPr/>
        <a:lstStyle/>
        <a:p>
          <a:endParaRPr lang="en-US"/>
        </a:p>
      </dgm:t>
    </dgm:pt>
    <dgm:pt modelId="{2F6572D1-3E4E-41CC-B816-15F6AA753750}">
      <dgm:prSet custT="1"/>
      <dgm:spPr/>
      <dgm:t>
        <a:bodyPr/>
        <a:lstStyle/>
        <a:p>
          <a:pPr rtl="0"/>
          <a:r>
            <a:rPr lang="en-US" sz="1600" dirty="0" smtClean="0"/>
            <a:t>Limit access and exposure</a:t>
          </a:r>
          <a:endParaRPr lang="en-US" sz="1600" dirty="0"/>
        </a:p>
      </dgm:t>
    </dgm:pt>
    <dgm:pt modelId="{453F9760-1876-428B-8CB6-DA8F60516D89}" type="parTrans" cxnId="{06E71150-3811-4FC5-8858-0203DD6C998E}">
      <dgm:prSet/>
      <dgm:spPr/>
      <dgm:t>
        <a:bodyPr/>
        <a:lstStyle/>
        <a:p>
          <a:endParaRPr lang="en-US"/>
        </a:p>
      </dgm:t>
    </dgm:pt>
    <dgm:pt modelId="{F36BC338-6ADD-4D27-8F50-A2943AF092AF}" type="sibTrans" cxnId="{06E71150-3811-4FC5-8858-0203DD6C998E}">
      <dgm:prSet/>
      <dgm:spPr/>
      <dgm:t>
        <a:bodyPr/>
        <a:lstStyle/>
        <a:p>
          <a:endParaRPr lang="en-US"/>
        </a:p>
      </dgm:t>
    </dgm:pt>
    <dgm:pt modelId="{CFEBB133-5D80-4E9D-815E-BA7E2B5804D2}">
      <dgm:prSet custT="1"/>
      <dgm:spPr/>
      <dgm:t>
        <a:bodyPr/>
        <a:lstStyle/>
        <a:p>
          <a:pPr rtl="0"/>
          <a:r>
            <a:rPr lang="en-US" sz="1600" dirty="0" smtClean="0"/>
            <a:t>Maintain data confidentiality</a:t>
          </a:r>
          <a:endParaRPr lang="en-US" sz="1600" dirty="0"/>
        </a:p>
      </dgm:t>
    </dgm:pt>
    <dgm:pt modelId="{6C5C9B86-7AAA-465B-98FF-E3F38189A3AE}" type="parTrans" cxnId="{7E8A394C-0B32-41E9-BC7B-038412EB61D4}">
      <dgm:prSet/>
      <dgm:spPr/>
      <dgm:t>
        <a:bodyPr/>
        <a:lstStyle/>
        <a:p>
          <a:endParaRPr lang="en-US"/>
        </a:p>
      </dgm:t>
    </dgm:pt>
    <dgm:pt modelId="{7FDECB7D-540F-4AC8-A911-0EDE43878630}" type="sibTrans" cxnId="{7E8A394C-0B32-41E9-BC7B-038412EB61D4}">
      <dgm:prSet/>
      <dgm:spPr/>
      <dgm:t>
        <a:bodyPr/>
        <a:lstStyle/>
        <a:p>
          <a:endParaRPr lang="en-US"/>
        </a:p>
      </dgm:t>
    </dgm:pt>
    <dgm:pt modelId="{720AE7B9-47AD-4FF9-8447-DF1B8C5FD193}">
      <dgm:prSet custT="1"/>
      <dgm:spPr/>
      <dgm:t>
        <a:bodyPr/>
        <a:lstStyle/>
        <a:p>
          <a:pPr rtl="0"/>
          <a:r>
            <a:rPr lang="en-US" sz="1600" dirty="0" smtClean="0"/>
            <a:t>Intrusion detection</a:t>
          </a:r>
          <a:endParaRPr lang="en-US" sz="1600" dirty="0"/>
        </a:p>
      </dgm:t>
    </dgm:pt>
    <dgm:pt modelId="{3722DDF4-26E2-4422-A516-DEEAC3ECF65B}" type="parTrans" cxnId="{C7B12242-93F1-42B1-8149-73B2BE7E9DC0}">
      <dgm:prSet/>
      <dgm:spPr/>
      <dgm:t>
        <a:bodyPr/>
        <a:lstStyle/>
        <a:p>
          <a:endParaRPr lang="en-US"/>
        </a:p>
      </dgm:t>
    </dgm:pt>
    <dgm:pt modelId="{D7F902F3-F976-415B-98C3-59057320C539}" type="sibTrans" cxnId="{C7B12242-93F1-42B1-8149-73B2BE7E9DC0}">
      <dgm:prSet/>
      <dgm:spPr/>
      <dgm:t>
        <a:bodyPr/>
        <a:lstStyle/>
        <a:p>
          <a:endParaRPr lang="en-US"/>
        </a:p>
      </dgm:t>
    </dgm:pt>
    <dgm:pt modelId="{7D7C3FA2-CE75-4B7D-A218-416906B8D917}">
      <dgm:prSet custT="1"/>
      <dgm:spPr/>
      <dgm:t>
        <a:bodyPr/>
        <a:lstStyle/>
        <a:p>
          <a:pPr rtl="0"/>
          <a:r>
            <a:rPr lang="en-US" sz="1600" dirty="0" smtClean="0"/>
            <a:t>Detect service denial</a:t>
          </a:r>
          <a:endParaRPr lang="en-US" sz="1600" dirty="0"/>
        </a:p>
      </dgm:t>
    </dgm:pt>
    <dgm:pt modelId="{14236E25-24F5-4DBC-8E23-FED5A30DEF0E}" type="parTrans" cxnId="{2648CEB6-4DB9-42A6-B700-4831395E15AC}">
      <dgm:prSet/>
      <dgm:spPr/>
      <dgm:t>
        <a:bodyPr/>
        <a:lstStyle/>
        <a:p>
          <a:endParaRPr lang="en-US"/>
        </a:p>
      </dgm:t>
    </dgm:pt>
    <dgm:pt modelId="{FB40D391-DB77-4C2C-BDCE-7A207CEAE6FE}" type="sibTrans" cxnId="{2648CEB6-4DB9-42A6-B700-4831395E15AC}">
      <dgm:prSet/>
      <dgm:spPr/>
      <dgm:t>
        <a:bodyPr/>
        <a:lstStyle/>
        <a:p>
          <a:endParaRPr lang="en-US"/>
        </a:p>
      </dgm:t>
    </dgm:pt>
    <dgm:pt modelId="{9B931718-FC68-4B2E-9854-492BCFE6FE83}">
      <dgm:prSet custT="1"/>
      <dgm:spPr/>
      <dgm:t>
        <a:bodyPr/>
        <a:lstStyle/>
        <a:p>
          <a:pPr rtl="0"/>
          <a:r>
            <a:rPr lang="en-US" sz="1600" dirty="0" smtClean="0"/>
            <a:t>Verify message integrity</a:t>
          </a:r>
          <a:endParaRPr lang="en-US" sz="1600" dirty="0"/>
        </a:p>
      </dgm:t>
    </dgm:pt>
    <dgm:pt modelId="{359E2506-5D19-4F9C-8688-C666576175A9}" type="parTrans" cxnId="{6E2E3B55-A6EB-46D7-B7D0-04629FD4C800}">
      <dgm:prSet/>
      <dgm:spPr/>
      <dgm:t>
        <a:bodyPr/>
        <a:lstStyle/>
        <a:p>
          <a:endParaRPr lang="en-US"/>
        </a:p>
      </dgm:t>
    </dgm:pt>
    <dgm:pt modelId="{3113A228-1208-4305-91A0-AEEDFF54B5B2}" type="sibTrans" cxnId="{6E2E3B55-A6EB-46D7-B7D0-04629FD4C800}">
      <dgm:prSet/>
      <dgm:spPr/>
      <dgm:t>
        <a:bodyPr/>
        <a:lstStyle/>
        <a:p>
          <a:endParaRPr lang="en-US"/>
        </a:p>
      </dgm:t>
    </dgm:pt>
    <dgm:pt modelId="{0B5A8C4E-0287-4775-89CD-4F33BAC9506F}">
      <dgm:prSet custT="1"/>
      <dgm:spPr/>
      <dgm:t>
        <a:bodyPr/>
        <a:lstStyle/>
        <a:p>
          <a:pPr rtl="0"/>
          <a:r>
            <a:rPr lang="en-US" sz="1600" dirty="0" smtClean="0"/>
            <a:t>Detect message delay</a:t>
          </a:r>
          <a:endParaRPr lang="en-US" sz="1600" dirty="0"/>
        </a:p>
      </dgm:t>
    </dgm:pt>
    <dgm:pt modelId="{EF032B47-594B-4FE2-82AA-11F85DCB3B05}" type="parTrans" cxnId="{BF0DC91D-EC32-48A1-86C8-FAB69550103E}">
      <dgm:prSet/>
      <dgm:spPr/>
      <dgm:t>
        <a:bodyPr/>
        <a:lstStyle/>
        <a:p>
          <a:endParaRPr lang="en-US"/>
        </a:p>
      </dgm:t>
    </dgm:pt>
    <dgm:pt modelId="{54EDCA25-2AA2-4C65-8635-EE0E2A7EF78B}" type="sibTrans" cxnId="{BF0DC91D-EC32-48A1-86C8-FAB69550103E}">
      <dgm:prSet/>
      <dgm:spPr/>
      <dgm:t>
        <a:bodyPr/>
        <a:lstStyle/>
        <a:p>
          <a:endParaRPr lang="en-US"/>
        </a:p>
      </dgm:t>
    </dgm:pt>
    <dgm:pt modelId="{52015A54-073D-4B92-8FF1-0F1F5FE1561A}">
      <dgm:prSet custT="1"/>
      <dgm:spPr/>
      <dgm:t>
        <a:bodyPr/>
        <a:lstStyle/>
        <a:p>
          <a:pPr rtl="0"/>
          <a:r>
            <a:rPr lang="en-US" sz="1600" dirty="0" smtClean="0"/>
            <a:t>Change default setting</a:t>
          </a:r>
          <a:endParaRPr lang="en-US" sz="1600" dirty="0"/>
        </a:p>
      </dgm:t>
    </dgm:pt>
    <dgm:pt modelId="{B8FD3D24-FF5C-481A-BFA0-ACCFF5DDB239}" type="parTrans" cxnId="{D5303A83-A782-4BB6-B537-EB76AE21A31F}">
      <dgm:prSet/>
      <dgm:spPr/>
      <dgm:t>
        <a:bodyPr/>
        <a:lstStyle/>
        <a:p>
          <a:endParaRPr lang="en-US"/>
        </a:p>
      </dgm:t>
    </dgm:pt>
    <dgm:pt modelId="{D70B0E39-2F64-4487-9F50-BA872A45E49A}" type="sibTrans" cxnId="{D5303A83-A782-4BB6-B537-EB76AE21A31F}">
      <dgm:prSet/>
      <dgm:spPr/>
      <dgm:t>
        <a:bodyPr/>
        <a:lstStyle/>
        <a:p>
          <a:endParaRPr lang="en-US"/>
        </a:p>
      </dgm:t>
    </dgm:pt>
    <dgm:pt modelId="{E9F5810C-05C5-4937-8779-609DD6BD5CFD}" type="pres">
      <dgm:prSet presAssocID="{A26E1133-27F8-42A1-91FE-23383B9ACC9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5A00B3E-FEA8-439F-999E-8DB6BC95DBC0}" type="pres">
      <dgm:prSet presAssocID="{43BDC9E6-B3ED-4E11-B81F-A36F96CA06AD}" presName="hierRoot1" presStyleCnt="0">
        <dgm:presLayoutVars>
          <dgm:hierBranch val="init"/>
        </dgm:presLayoutVars>
      </dgm:prSet>
      <dgm:spPr/>
    </dgm:pt>
    <dgm:pt modelId="{305CB9B7-E4C6-453D-AC39-1DA3FA25C576}" type="pres">
      <dgm:prSet presAssocID="{43BDC9E6-B3ED-4E11-B81F-A36F96CA06AD}" presName="rootComposite1" presStyleCnt="0"/>
      <dgm:spPr/>
    </dgm:pt>
    <dgm:pt modelId="{1AD90FEA-3135-49C2-A3C0-CFEDDC6405B3}" type="pres">
      <dgm:prSet presAssocID="{43BDC9E6-B3ED-4E11-B81F-A36F96CA06AD}" presName="rootText1" presStyleLbl="node0" presStyleIdx="0" presStyleCnt="1" custScaleX="217502" custScaleY="68885" custLinFactNeighborX="29763" custLinFactNeighborY="-8477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EF86BC6-06CE-4768-9942-F4420543D5EE}" type="pres">
      <dgm:prSet presAssocID="{43BDC9E6-B3ED-4E11-B81F-A36F96CA06AD}" presName="rootConnector1" presStyleLbl="node1" presStyleIdx="0" presStyleCnt="0"/>
      <dgm:spPr/>
      <dgm:t>
        <a:bodyPr/>
        <a:lstStyle/>
        <a:p>
          <a:endParaRPr lang="en-US"/>
        </a:p>
      </dgm:t>
    </dgm:pt>
    <dgm:pt modelId="{EC72B6B4-B63E-4FE2-8CC2-5FA221770366}" type="pres">
      <dgm:prSet presAssocID="{43BDC9E6-B3ED-4E11-B81F-A36F96CA06AD}" presName="hierChild2" presStyleCnt="0"/>
      <dgm:spPr/>
    </dgm:pt>
    <dgm:pt modelId="{A3BC68A0-CABF-4126-884C-C90818E1E26E}" type="pres">
      <dgm:prSet presAssocID="{3EEFE082-C4FA-499A-BA01-E4B8217A4B73}" presName="Name37" presStyleLbl="parChTrans1D2" presStyleIdx="0" presStyleCnt="4"/>
      <dgm:spPr/>
      <dgm:t>
        <a:bodyPr/>
        <a:lstStyle/>
        <a:p>
          <a:endParaRPr lang="en-US"/>
        </a:p>
      </dgm:t>
    </dgm:pt>
    <dgm:pt modelId="{9B84C5AA-6259-445A-8F7A-6D366FCBB4AD}" type="pres">
      <dgm:prSet presAssocID="{843E3B21-DC9F-4CF8-A7F1-93BF704E47A7}" presName="hierRoot2" presStyleCnt="0">
        <dgm:presLayoutVars>
          <dgm:hierBranch val="init"/>
        </dgm:presLayoutVars>
      </dgm:prSet>
      <dgm:spPr/>
    </dgm:pt>
    <dgm:pt modelId="{F324FB99-E565-440D-9319-A2867DA87756}" type="pres">
      <dgm:prSet presAssocID="{843E3B21-DC9F-4CF8-A7F1-93BF704E47A7}" presName="rootComposite" presStyleCnt="0"/>
      <dgm:spPr/>
    </dgm:pt>
    <dgm:pt modelId="{5E5C4910-D5C2-4117-9825-0F4E2308A1D4}" type="pres">
      <dgm:prSet presAssocID="{843E3B21-DC9F-4CF8-A7F1-93BF704E47A7}" presName="rootText" presStyleLbl="node2" presStyleIdx="0" presStyleCnt="4" custScaleY="90886" custLinFactNeighborX="17220" custLinFactNeighborY="2220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B22B6A5-BFAD-4E5F-BED0-C002FA69FEEF}" type="pres">
      <dgm:prSet presAssocID="{843E3B21-DC9F-4CF8-A7F1-93BF704E47A7}" presName="rootConnector" presStyleLbl="node2" presStyleIdx="0" presStyleCnt="4"/>
      <dgm:spPr/>
      <dgm:t>
        <a:bodyPr/>
        <a:lstStyle/>
        <a:p>
          <a:endParaRPr lang="en-US"/>
        </a:p>
      </dgm:t>
    </dgm:pt>
    <dgm:pt modelId="{16186025-4BC6-46E2-97F6-F9084F02632D}" type="pres">
      <dgm:prSet presAssocID="{843E3B21-DC9F-4CF8-A7F1-93BF704E47A7}" presName="hierChild4" presStyleCnt="0"/>
      <dgm:spPr/>
    </dgm:pt>
    <dgm:pt modelId="{A83ED5F7-10A0-45C9-B814-5804FA76917E}" type="pres">
      <dgm:prSet presAssocID="{3722DDF4-26E2-4422-A516-DEEAC3ECF65B}" presName="Name37" presStyleLbl="parChTrans1D3" presStyleIdx="0" presStyleCnt="14"/>
      <dgm:spPr/>
      <dgm:t>
        <a:bodyPr/>
        <a:lstStyle/>
        <a:p>
          <a:endParaRPr lang="en-US"/>
        </a:p>
      </dgm:t>
    </dgm:pt>
    <dgm:pt modelId="{D44CFE56-6231-4D51-BDF4-F9842887D455}" type="pres">
      <dgm:prSet presAssocID="{720AE7B9-47AD-4FF9-8447-DF1B8C5FD193}" presName="hierRoot2" presStyleCnt="0">
        <dgm:presLayoutVars>
          <dgm:hierBranch val="init"/>
        </dgm:presLayoutVars>
      </dgm:prSet>
      <dgm:spPr/>
    </dgm:pt>
    <dgm:pt modelId="{F340CB26-8421-44AC-9592-9BB7E87D96B8}" type="pres">
      <dgm:prSet presAssocID="{720AE7B9-47AD-4FF9-8447-DF1B8C5FD193}" presName="rootComposite" presStyleCnt="0"/>
      <dgm:spPr/>
    </dgm:pt>
    <dgm:pt modelId="{1064D61A-5C37-497D-A6F5-6312AB6E3F5A}" type="pres">
      <dgm:prSet presAssocID="{720AE7B9-47AD-4FF9-8447-DF1B8C5FD193}" presName="rootText" presStyleLbl="node3" presStyleIdx="0" presStyleCnt="14" custScaleX="133045" custScaleY="119763" custLinFactY="39326" custLinFactNeighborX="3459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D0BA542-EABF-46D4-A11D-8954A50A4A27}" type="pres">
      <dgm:prSet presAssocID="{720AE7B9-47AD-4FF9-8447-DF1B8C5FD193}" presName="rootConnector" presStyleLbl="node3" presStyleIdx="0" presStyleCnt="14"/>
      <dgm:spPr/>
      <dgm:t>
        <a:bodyPr/>
        <a:lstStyle/>
        <a:p>
          <a:endParaRPr lang="en-US"/>
        </a:p>
      </dgm:t>
    </dgm:pt>
    <dgm:pt modelId="{CB5479DD-BB83-4A7F-A8FE-0204BBEBDE57}" type="pres">
      <dgm:prSet presAssocID="{720AE7B9-47AD-4FF9-8447-DF1B8C5FD193}" presName="hierChild4" presStyleCnt="0"/>
      <dgm:spPr/>
    </dgm:pt>
    <dgm:pt modelId="{72F3B94E-5E2C-4DF9-BCD5-3D635951032C}" type="pres">
      <dgm:prSet presAssocID="{720AE7B9-47AD-4FF9-8447-DF1B8C5FD193}" presName="hierChild5" presStyleCnt="0"/>
      <dgm:spPr/>
    </dgm:pt>
    <dgm:pt modelId="{A2B3E9C0-0CE1-4B88-9E71-F7CE1A7F99D7}" type="pres">
      <dgm:prSet presAssocID="{14236E25-24F5-4DBC-8E23-FED5A30DEF0E}" presName="Name37" presStyleLbl="parChTrans1D3" presStyleIdx="1" presStyleCnt="14"/>
      <dgm:spPr/>
      <dgm:t>
        <a:bodyPr/>
        <a:lstStyle/>
        <a:p>
          <a:endParaRPr lang="en-US"/>
        </a:p>
      </dgm:t>
    </dgm:pt>
    <dgm:pt modelId="{16797127-63BB-4E8C-8005-5E72B3FF9B3C}" type="pres">
      <dgm:prSet presAssocID="{7D7C3FA2-CE75-4B7D-A218-416906B8D917}" presName="hierRoot2" presStyleCnt="0">
        <dgm:presLayoutVars>
          <dgm:hierBranch val="init"/>
        </dgm:presLayoutVars>
      </dgm:prSet>
      <dgm:spPr/>
    </dgm:pt>
    <dgm:pt modelId="{4DFEF789-40AF-4966-81EA-F7C1CBE52773}" type="pres">
      <dgm:prSet presAssocID="{7D7C3FA2-CE75-4B7D-A218-416906B8D917}" presName="rootComposite" presStyleCnt="0"/>
      <dgm:spPr/>
    </dgm:pt>
    <dgm:pt modelId="{A77E27D0-EFD7-495B-9E1A-5A5371B8AB84}" type="pres">
      <dgm:prSet presAssocID="{7D7C3FA2-CE75-4B7D-A218-416906B8D917}" presName="rootText" presStyleLbl="node3" presStyleIdx="1" presStyleCnt="14" custScaleX="130963" custScaleY="119096" custLinFactY="32613" custLinFactNeighborX="36672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3F8734B-291F-4EE9-8AEC-5D7130065FE8}" type="pres">
      <dgm:prSet presAssocID="{7D7C3FA2-CE75-4B7D-A218-416906B8D917}" presName="rootConnector" presStyleLbl="node3" presStyleIdx="1" presStyleCnt="14"/>
      <dgm:spPr/>
      <dgm:t>
        <a:bodyPr/>
        <a:lstStyle/>
        <a:p>
          <a:endParaRPr lang="en-US"/>
        </a:p>
      </dgm:t>
    </dgm:pt>
    <dgm:pt modelId="{F1241E53-1837-4666-9A60-B6AD42958195}" type="pres">
      <dgm:prSet presAssocID="{7D7C3FA2-CE75-4B7D-A218-416906B8D917}" presName="hierChild4" presStyleCnt="0"/>
      <dgm:spPr/>
    </dgm:pt>
    <dgm:pt modelId="{E1079AD2-0C8E-44F0-9596-6D504E6161CE}" type="pres">
      <dgm:prSet presAssocID="{7D7C3FA2-CE75-4B7D-A218-416906B8D917}" presName="hierChild5" presStyleCnt="0"/>
      <dgm:spPr/>
    </dgm:pt>
    <dgm:pt modelId="{50C84909-550F-4BDC-8966-B86E5E1786AE}" type="pres">
      <dgm:prSet presAssocID="{359E2506-5D19-4F9C-8688-C666576175A9}" presName="Name37" presStyleLbl="parChTrans1D3" presStyleIdx="2" presStyleCnt="14"/>
      <dgm:spPr/>
      <dgm:t>
        <a:bodyPr/>
        <a:lstStyle/>
        <a:p>
          <a:endParaRPr lang="en-US"/>
        </a:p>
      </dgm:t>
    </dgm:pt>
    <dgm:pt modelId="{EBCAC25B-3E97-4708-AA7E-0D44E4C06B2C}" type="pres">
      <dgm:prSet presAssocID="{9B931718-FC68-4B2E-9854-492BCFE6FE83}" presName="hierRoot2" presStyleCnt="0">
        <dgm:presLayoutVars>
          <dgm:hierBranch val="init"/>
        </dgm:presLayoutVars>
      </dgm:prSet>
      <dgm:spPr/>
    </dgm:pt>
    <dgm:pt modelId="{56A22D43-7DD1-46E6-B06A-D1D662EE6DAD}" type="pres">
      <dgm:prSet presAssocID="{9B931718-FC68-4B2E-9854-492BCFE6FE83}" presName="rootComposite" presStyleCnt="0"/>
      <dgm:spPr/>
    </dgm:pt>
    <dgm:pt modelId="{984A4F3B-0A00-4E5A-9092-1922B8A7FAB3}" type="pres">
      <dgm:prSet presAssocID="{9B931718-FC68-4B2E-9854-492BCFE6FE83}" presName="rootText" presStyleLbl="node3" presStyleIdx="2" presStyleCnt="14" custScaleX="133045" custScaleY="152685" custLinFactY="19953" custLinFactNeighborX="3459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00B55C8-272E-490B-AB5F-A5C6369E8C79}" type="pres">
      <dgm:prSet presAssocID="{9B931718-FC68-4B2E-9854-492BCFE6FE83}" presName="rootConnector" presStyleLbl="node3" presStyleIdx="2" presStyleCnt="14"/>
      <dgm:spPr/>
      <dgm:t>
        <a:bodyPr/>
        <a:lstStyle/>
        <a:p>
          <a:endParaRPr lang="en-US"/>
        </a:p>
      </dgm:t>
    </dgm:pt>
    <dgm:pt modelId="{18D6C1B6-F902-4ABE-BB60-086B907C1C3A}" type="pres">
      <dgm:prSet presAssocID="{9B931718-FC68-4B2E-9854-492BCFE6FE83}" presName="hierChild4" presStyleCnt="0"/>
      <dgm:spPr/>
    </dgm:pt>
    <dgm:pt modelId="{4E3F742A-A2F5-4971-A026-90DA3CFE956C}" type="pres">
      <dgm:prSet presAssocID="{9B931718-FC68-4B2E-9854-492BCFE6FE83}" presName="hierChild5" presStyleCnt="0"/>
      <dgm:spPr/>
    </dgm:pt>
    <dgm:pt modelId="{6262AD45-37CE-4E4E-81E1-98A75BFFED33}" type="pres">
      <dgm:prSet presAssocID="{EF032B47-594B-4FE2-82AA-11F85DCB3B05}" presName="Name37" presStyleLbl="parChTrans1D3" presStyleIdx="3" presStyleCnt="14"/>
      <dgm:spPr/>
      <dgm:t>
        <a:bodyPr/>
        <a:lstStyle/>
        <a:p>
          <a:endParaRPr lang="en-US"/>
        </a:p>
      </dgm:t>
    </dgm:pt>
    <dgm:pt modelId="{3BDA7C33-CC97-412E-A3EC-9F252E4F5A5A}" type="pres">
      <dgm:prSet presAssocID="{0B5A8C4E-0287-4775-89CD-4F33BAC9506F}" presName="hierRoot2" presStyleCnt="0">
        <dgm:presLayoutVars>
          <dgm:hierBranch val="init"/>
        </dgm:presLayoutVars>
      </dgm:prSet>
      <dgm:spPr/>
    </dgm:pt>
    <dgm:pt modelId="{2723E1CD-4CEE-4F07-87CD-20B12A8FC827}" type="pres">
      <dgm:prSet presAssocID="{0B5A8C4E-0287-4775-89CD-4F33BAC9506F}" presName="rootComposite" presStyleCnt="0"/>
      <dgm:spPr/>
    </dgm:pt>
    <dgm:pt modelId="{E8D3E92A-0794-4DFF-ADF5-83A9F9869BDA}" type="pres">
      <dgm:prSet presAssocID="{0B5A8C4E-0287-4775-89CD-4F33BAC9506F}" presName="rootText" presStyleLbl="node3" presStyleIdx="3" presStyleCnt="14" custScaleX="147937" custScaleY="123563" custLinFactY="23643" custLinFactNeighborX="19698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4F391C2-584B-4F01-9A6E-BB77AA2A997A}" type="pres">
      <dgm:prSet presAssocID="{0B5A8C4E-0287-4775-89CD-4F33BAC9506F}" presName="rootConnector" presStyleLbl="node3" presStyleIdx="3" presStyleCnt="14"/>
      <dgm:spPr/>
      <dgm:t>
        <a:bodyPr/>
        <a:lstStyle/>
        <a:p>
          <a:endParaRPr lang="en-US"/>
        </a:p>
      </dgm:t>
    </dgm:pt>
    <dgm:pt modelId="{B2E11ABB-6C93-42E1-91A1-DB542954BA14}" type="pres">
      <dgm:prSet presAssocID="{0B5A8C4E-0287-4775-89CD-4F33BAC9506F}" presName="hierChild4" presStyleCnt="0"/>
      <dgm:spPr/>
    </dgm:pt>
    <dgm:pt modelId="{7916A290-6350-41CF-9D02-42ED9408F54E}" type="pres">
      <dgm:prSet presAssocID="{0B5A8C4E-0287-4775-89CD-4F33BAC9506F}" presName="hierChild5" presStyleCnt="0"/>
      <dgm:spPr/>
    </dgm:pt>
    <dgm:pt modelId="{82355405-192E-42E7-B905-7A6FE845C6D9}" type="pres">
      <dgm:prSet presAssocID="{843E3B21-DC9F-4CF8-A7F1-93BF704E47A7}" presName="hierChild5" presStyleCnt="0"/>
      <dgm:spPr/>
    </dgm:pt>
    <dgm:pt modelId="{96956835-3386-449C-A89B-65F7C680246D}" type="pres">
      <dgm:prSet presAssocID="{65D088B7-B36E-49AA-84B9-2BC51B326EA1}" presName="Name37" presStyleLbl="parChTrans1D2" presStyleIdx="1" presStyleCnt="4"/>
      <dgm:spPr/>
      <dgm:t>
        <a:bodyPr/>
        <a:lstStyle/>
        <a:p>
          <a:endParaRPr lang="en-US"/>
        </a:p>
      </dgm:t>
    </dgm:pt>
    <dgm:pt modelId="{DBD72DFC-EF80-4973-B6E5-D3C9AB052F9E}" type="pres">
      <dgm:prSet presAssocID="{E420C67E-C4C2-476B-9B47-FFB47D587009}" presName="hierRoot2" presStyleCnt="0">
        <dgm:presLayoutVars>
          <dgm:hierBranch val="init"/>
        </dgm:presLayoutVars>
      </dgm:prSet>
      <dgm:spPr/>
    </dgm:pt>
    <dgm:pt modelId="{72B31F8C-4060-4D82-8D0A-8A332812C464}" type="pres">
      <dgm:prSet presAssocID="{E420C67E-C4C2-476B-9B47-FFB47D587009}" presName="rootComposite" presStyleCnt="0"/>
      <dgm:spPr/>
    </dgm:pt>
    <dgm:pt modelId="{F0ED6141-24DB-4164-A2D4-B51E750525CD}" type="pres">
      <dgm:prSet presAssocID="{E420C67E-C4C2-476B-9B47-FFB47D587009}" presName="rootText" presStyleLbl="node2" presStyleIdx="1" presStyleCnt="4" custLinFactNeighborX="65595" custLinFactNeighborY="2929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5256018-C335-4CDB-9EC5-7AE2ABAC1E00}" type="pres">
      <dgm:prSet presAssocID="{E420C67E-C4C2-476B-9B47-FFB47D587009}" presName="rootConnector" presStyleLbl="node2" presStyleIdx="1" presStyleCnt="4"/>
      <dgm:spPr/>
      <dgm:t>
        <a:bodyPr/>
        <a:lstStyle/>
        <a:p>
          <a:endParaRPr lang="en-US"/>
        </a:p>
      </dgm:t>
    </dgm:pt>
    <dgm:pt modelId="{2A7D3334-4741-4667-BCDB-1A78491B4FD4}" type="pres">
      <dgm:prSet presAssocID="{E420C67E-C4C2-476B-9B47-FFB47D587009}" presName="hierChild4" presStyleCnt="0"/>
      <dgm:spPr/>
    </dgm:pt>
    <dgm:pt modelId="{CC07306D-4BD7-4477-BB61-A954489058D6}" type="pres">
      <dgm:prSet presAssocID="{C3334397-F4C9-43FD-9DE7-786437A51BF8}" presName="Name37" presStyleLbl="parChTrans1D3" presStyleIdx="4" presStyleCnt="14"/>
      <dgm:spPr/>
      <dgm:t>
        <a:bodyPr/>
        <a:lstStyle/>
        <a:p>
          <a:endParaRPr lang="en-US"/>
        </a:p>
      </dgm:t>
    </dgm:pt>
    <dgm:pt modelId="{0ECB6EE9-64D7-46FB-8A0A-B83CD370F0B4}" type="pres">
      <dgm:prSet presAssocID="{0216D3CF-84E5-4443-8082-6C6C297E9A4D}" presName="hierRoot2" presStyleCnt="0">
        <dgm:presLayoutVars>
          <dgm:hierBranch val="init"/>
        </dgm:presLayoutVars>
      </dgm:prSet>
      <dgm:spPr/>
    </dgm:pt>
    <dgm:pt modelId="{9D96850F-E3A0-4435-B942-5F48B18AC5F4}" type="pres">
      <dgm:prSet presAssocID="{0216D3CF-84E5-4443-8082-6C6C297E9A4D}" presName="rootComposite" presStyleCnt="0"/>
      <dgm:spPr/>
    </dgm:pt>
    <dgm:pt modelId="{CBCDE87F-FA6C-44B8-A9C2-1E747BE7F736}" type="pres">
      <dgm:prSet presAssocID="{0216D3CF-84E5-4443-8082-6C6C297E9A4D}" presName="rootText" presStyleLbl="node3" presStyleIdx="4" presStyleCnt="14" custScaleX="130737" custLinFactY="2590" custLinFactNeighborX="60785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F9F174C-7D69-49F6-A7FE-7ED9990EB82A}" type="pres">
      <dgm:prSet presAssocID="{0216D3CF-84E5-4443-8082-6C6C297E9A4D}" presName="rootConnector" presStyleLbl="node3" presStyleIdx="4" presStyleCnt="14"/>
      <dgm:spPr/>
      <dgm:t>
        <a:bodyPr/>
        <a:lstStyle/>
        <a:p>
          <a:endParaRPr lang="en-US"/>
        </a:p>
      </dgm:t>
    </dgm:pt>
    <dgm:pt modelId="{1934090D-CBAE-4AB8-9BE7-C9762145998D}" type="pres">
      <dgm:prSet presAssocID="{0216D3CF-84E5-4443-8082-6C6C297E9A4D}" presName="hierChild4" presStyleCnt="0"/>
      <dgm:spPr/>
    </dgm:pt>
    <dgm:pt modelId="{7BCCCAFF-8404-460B-9A5A-B8BF91057993}" type="pres">
      <dgm:prSet presAssocID="{0216D3CF-84E5-4443-8082-6C6C297E9A4D}" presName="hierChild5" presStyleCnt="0"/>
      <dgm:spPr/>
    </dgm:pt>
    <dgm:pt modelId="{FE10A4AF-D8A8-4F2D-9661-56E5DBB5B2C5}" type="pres">
      <dgm:prSet presAssocID="{62301F5E-BDD5-4369-B9CF-5999FECA1C85}" presName="Name37" presStyleLbl="parChTrans1D3" presStyleIdx="5" presStyleCnt="14"/>
      <dgm:spPr/>
      <dgm:t>
        <a:bodyPr/>
        <a:lstStyle/>
        <a:p>
          <a:endParaRPr lang="en-US"/>
        </a:p>
      </dgm:t>
    </dgm:pt>
    <dgm:pt modelId="{6E36B90A-357D-4409-934D-6F40EC568AE0}" type="pres">
      <dgm:prSet presAssocID="{90833815-F732-45AF-B735-7A208BE16A8A}" presName="hierRoot2" presStyleCnt="0">
        <dgm:presLayoutVars>
          <dgm:hierBranch val="init"/>
        </dgm:presLayoutVars>
      </dgm:prSet>
      <dgm:spPr/>
    </dgm:pt>
    <dgm:pt modelId="{AB55976F-0A75-48BF-8621-9232364F260E}" type="pres">
      <dgm:prSet presAssocID="{90833815-F732-45AF-B735-7A208BE16A8A}" presName="rootComposite" presStyleCnt="0"/>
      <dgm:spPr/>
    </dgm:pt>
    <dgm:pt modelId="{5D0F02D1-4A23-4B53-AF4F-3529BE69829E}" type="pres">
      <dgm:prSet presAssocID="{90833815-F732-45AF-B735-7A208BE16A8A}" presName="rootText" presStyleLbl="node3" presStyleIdx="5" presStyleCnt="14" custScaleX="173065" custScaleY="132413" custLinFactNeighborX="60785" custLinFactNeighborY="7638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FF15CAA-9BF1-4437-B877-2B6831555847}" type="pres">
      <dgm:prSet presAssocID="{90833815-F732-45AF-B735-7A208BE16A8A}" presName="rootConnector" presStyleLbl="node3" presStyleIdx="5" presStyleCnt="14"/>
      <dgm:spPr/>
      <dgm:t>
        <a:bodyPr/>
        <a:lstStyle/>
        <a:p>
          <a:endParaRPr lang="en-US"/>
        </a:p>
      </dgm:t>
    </dgm:pt>
    <dgm:pt modelId="{8EE5665B-F21D-4DA6-A444-6C77DD3C6F95}" type="pres">
      <dgm:prSet presAssocID="{90833815-F732-45AF-B735-7A208BE16A8A}" presName="hierChild4" presStyleCnt="0"/>
      <dgm:spPr/>
    </dgm:pt>
    <dgm:pt modelId="{F1F43870-C4AC-4AF4-AB05-6A054FC06D63}" type="pres">
      <dgm:prSet presAssocID="{90833815-F732-45AF-B735-7A208BE16A8A}" presName="hierChild5" presStyleCnt="0"/>
      <dgm:spPr/>
    </dgm:pt>
    <dgm:pt modelId="{1D4D3FE4-1739-4B3C-ACD2-597D18FBC50F}" type="pres">
      <dgm:prSet presAssocID="{453F9760-1876-428B-8CB6-DA8F60516D89}" presName="Name37" presStyleLbl="parChTrans1D3" presStyleIdx="6" presStyleCnt="14"/>
      <dgm:spPr/>
      <dgm:t>
        <a:bodyPr/>
        <a:lstStyle/>
        <a:p>
          <a:endParaRPr lang="en-US"/>
        </a:p>
      </dgm:t>
    </dgm:pt>
    <dgm:pt modelId="{9115B6B6-EA79-4FE0-843B-D82CDE234246}" type="pres">
      <dgm:prSet presAssocID="{2F6572D1-3E4E-41CC-B816-15F6AA753750}" presName="hierRoot2" presStyleCnt="0">
        <dgm:presLayoutVars>
          <dgm:hierBranch val="init"/>
        </dgm:presLayoutVars>
      </dgm:prSet>
      <dgm:spPr/>
    </dgm:pt>
    <dgm:pt modelId="{B54B6D9A-0CB7-42FF-A0FD-F2137F2080D7}" type="pres">
      <dgm:prSet presAssocID="{2F6572D1-3E4E-41CC-B816-15F6AA753750}" presName="rootComposite" presStyleCnt="0"/>
      <dgm:spPr/>
    </dgm:pt>
    <dgm:pt modelId="{7BABB840-5689-4566-85C9-55C4A127C4C6}" type="pres">
      <dgm:prSet presAssocID="{2F6572D1-3E4E-41CC-B816-15F6AA753750}" presName="rootText" presStyleLbl="node3" presStyleIdx="6" presStyleCnt="14" custScaleX="151679" custLinFactNeighborX="60785" custLinFactNeighborY="7017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3C99CCA-0A47-4420-ABC8-53654C0C3796}" type="pres">
      <dgm:prSet presAssocID="{2F6572D1-3E4E-41CC-B816-15F6AA753750}" presName="rootConnector" presStyleLbl="node3" presStyleIdx="6" presStyleCnt="14"/>
      <dgm:spPr/>
      <dgm:t>
        <a:bodyPr/>
        <a:lstStyle/>
        <a:p>
          <a:endParaRPr lang="en-US"/>
        </a:p>
      </dgm:t>
    </dgm:pt>
    <dgm:pt modelId="{0D889D42-77FB-49A7-B6E8-3A8C670AFEAD}" type="pres">
      <dgm:prSet presAssocID="{2F6572D1-3E4E-41CC-B816-15F6AA753750}" presName="hierChild4" presStyleCnt="0"/>
      <dgm:spPr/>
    </dgm:pt>
    <dgm:pt modelId="{6BE4F57E-EC21-4523-B1EB-3AEDD24C4D44}" type="pres">
      <dgm:prSet presAssocID="{2F6572D1-3E4E-41CC-B816-15F6AA753750}" presName="hierChild5" presStyleCnt="0"/>
      <dgm:spPr/>
    </dgm:pt>
    <dgm:pt modelId="{3A94D9E8-C2A3-4765-9477-D710CC646957}" type="pres">
      <dgm:prSet presAssocID="{6C5C9B86-7AAA-465B-98FF-E3F38189A3AE}" presName="Name37" presStyleLbl="parChTrans1D3" presStyleIdx="7" presStyleCnt="14"/>
      <dgm:spPr/>
      <dgm:t>
        <a:bodyPr/>
        <a:lstStyle/>
        <a:p>
          <a:endParaRPr lang="en-US"/>
        </a:p>
      </dgm:t>
    </dgm:pt>
    <dgm:pt modelId="{2EAD44A1-134B-439B-87EC-257234921AE5}" type="pres">
      <dgm:prSet presAssocID="{CFEBB133-5D80-4E9D-815E-BA7E2B5804D2}" presName="hierRoot2" presStyleCnt="0">
        <dgm:presLayoutVars>
          <dgm:hierBranch val="init"/>
        </dgm:presLayoutVars>
      </dgm:prSet>
      <dgm:spPr/>
    </dgm:pt>
    <dgm:pt modelId="{2FB73BF3-3C5D-4AD3-9D1C-8A589100FCB7}" type="pres">
      <dgm:prSet presAssocID="{CFEBB133-5D80-4E9D-815E-BA7E2B5804D2}" presName="rootComposite" presStyleCnt="0"/>
      <dgm:spPr/>
    </dgm:pt>
    <dgm:pt modelId="{50D60845-A14B-4DD0-8DB4-8B07FEB31A21}" type="pres">
      <dgm:prSet presAssocID="{CFEBB133-5D80-4E9D-815E-BA7E2B5804D2}" presName="rootText" presStyleLbl="node3" presStyleIdx="7" presStyleCnt="14" custScaleX="163721" custLinFactNeighborX="60785" custLinFactNeighborY="7594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55C39B9-C17D-4782-B68D-D9F73AAEE095}" type="pres">
      <dgm:prSet presAssocID="{CFEBB133-5D80-4E9D-815E-BA7E2B5804D2}" presName="rootConnector" presStyleLbl="node3" presStyleIdx="7" presStyleCnt="14"/>
      <dgm:spPr/>
      <dgm:t>
        <a:bodyPr/>
        <a:lstStyle/>
        <a:p>
          <a:endParaRPr lang="en-US"/>
        </a:p>
      </dgm:t>
    </dgm:pt>
    <dgm:pt modelId="{FE161E8F-9C2C-4330-91D6-9E6A7C6F19FB}" type="pres">
      <dgm:prSet presAssocID="{CFEBB133-5D80-4E9D-815E-BA7E2B5804D2}" presName="hierChild4" presStyleCnt="0"/>
      <dgm:spPr/>
    </dgm:pt>
    <dgm:pt modelId="{DCFA5C64-38E4-453B-BB1F-AE8ADB7F8B50}" type="pres">
      <dgm:prSet presAssocID="{CFEBB133-5D80-4E9D-815E-BA7E2B5804D2}" presName="hierChild5" presStyleCnt="0"/>
      <dgm:spPr/>
    </dgm:pt>
    <dgm:pt modelId="{6240857E-8E92-4FD3-BB54-32F6C167CD09}" type="pres">
      <dgm:prSet presAssocID="{B8FD3D24-FF5C-481A-BFA0-ACCFF5DDB239}" presName="Name37" presStyleLbl="parChTrans1D3" presStyleIdx="8" presStyleCnt="14"/>
      <dgm:spPr/>
      <dgm:t>
        <a:bodyPr/>
        <a:lstStyle/>
        <a:p>
          <a:endParaRPr lang="en-US"/>
        </a:p>
      </dgm:t>
    </dgm:pt>
    <dgm:pt modelId="{15B9C00A-6A73-4158-81BD-1F7308096CC8}" type="pres">
      <dgm:prSet presAssocID="{52015A54-073D-4B92-8FF1-0F1F5FE1561A}" presName="hierRoot2" presStyleCnt="0">
        <dgm:presLayoutVars>
          <dgm:hierBranch val="init"/>
        </dgm:presLayoutVars>
      </dgm:prSet>
      <dgm:spPr/>
    </dgm:pt>
    <dgm:pt modelId="{0B45F736-1A0E-4A7B-A649-FBC58E1CBB7D}" type="pres">
      <dgm:prSet presAssocID="{52015A54-073D-4B92-8FF1-0F1F5FE1561A}" presName="rootComposite" presStyleCnt="0"/>
      <dgm:spPr/>
    </dgm:pt>
    <dgm:pt modelId="{BD1C35E1-9751-4DD4-B9AF-1CFE8C8B4E70}" type="pres">
      <dgm:prSet presAssocID="{52015A54-073D-4B92-8FF1-0F1F5FE1561A}" presName="rootText" presStyleLbl="node3" presStyleIdx="8" presStyleCnt="14" custScaleX="180918" custLinFactNeighborX="60785" custLinFactNeighborY="6801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9D97F7E-F6E2-4876-9CCF-33FF7FB7A306}" type="pres">
      <dgm:prSet presAssocID="{52015A54-073D-4B92-8FF1-0F1F5FE1561A}" presName="rootConnector" presStyleLbl="node3" presStyleIdx="8" presStyleCnt="14"/>
      <dgm:spPr/>
      <dgm:t>
        <a:bodyPr/>
        <a:lstStyle/>
        <a:p>
          <a:endParaRPr lang="en-US"/>
        </a:p>
      </dgm:t>
    </dgm:pt>
    <dgm:pt modelId="{29CC4417-FD35-462A-AB7F-4A305202200E}" type="pres">
      <dgm:prSet presAssocID="{52015A54-073D-4B92-8FF1-0F1F5FE1561A}" presName="hierChild4" presStyleCnt="0"/>
      <dgm:spPr/>
    </dgm:pt>
    <dgm:pt modelId="{9EF0C1A1-B522-4DAB-AD15-507C0F3FBD56}" type="pres">
      <dgm:prSet presAssocID="{52015A54-073D-4B92-8FF1-0F1F5FE1561A}" presName="hierChild5" presStyleCnt="0"/>
      <dgm:spPr/>
    </dgm:pt>
    <dgm:pt modelId="{1DBB8D6B-1EA9-448A-B87B-A162873E7B21}" type="pres">
      <dgm:prSet presAssocID="{E420C67E-C4C2-476B-9B47-FFB47D587009}" presName="hierChild5" presStyleCnt="0"/>
      <dgm:spPr/>
    </dgm:pt>
    <dgm:pt modelId="{C137CAE9-66E1-459B-A733-9B53B02E07AF}" type="pres">
      <dgm:prSet presAssocID="{6ED4E1AA-EFDD-4E70-836E-3DB36084DE98}" presName="Name37" presStyleLbl="parChTrans1D2" presStyleIdx="2" presStyleCnt="4"/>
      <dgm:spPr/>
      <dgm:t>
        <a:bodyPr/>
        <a:lstStyle/>
        <a:p>
          <a:endParaRPr lang="en-US"/>
        </a:p>
      </dgm:t>
    </dgm:pt>
    <dgm:pt modelId="{35CBA655-D40F-4A2B-B71A-711D392B5A84}" type="pres">
      <dgm:prSet presAssocID="{1CE2D78B-C788-472A-8424-7F9A4AB5205E}" presName="hierRoot2" presStyleCnt="0">
        <dgm:presLayoutVars>
          <dgm:hierBranch val="init"/>
        </dgm:presLayoutVars>
      </dgm:prSet>
      <dgm:spPr/>
    </dgm:pt>
    <dgm:pt modelId="{9DC86AED-B6DB-4100-9EA0-4E60FFB4A367}" type="pres">
      <dgm:prSet presAssocID="{1CE2D78B-C788-472A-8424-7F9A4AB5205E}" presName="rootComposite" presStyleCnt="0"/>
      <dgm:spPr/>
    </dgm:pt>
    <dgm:pt modelId="{A5F2589C-C16C-45F2-9A3D-F2A6CB2476D1}" type="pres">
      <dgm:prSet presAssocID="{1CE2D78B-C788-472A-8424-7F9A4AB5205E}" presName="rootText" presStyleLbl="node2" presStyleIdx="2" presStyleCnt="4" custScaleX="116568" custLinFactX="3180" custLinFactNeighborX="100000" custLinFactNeighborY="3464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D7B6648-0B7F-4E1F-B6C5-CE0E2F04B9FF}" type="pres">
      <dgm:prSet presAssocID="{1CE2D78B-C788-472A-8424-7F9A4AB5205E}" presName="rootConnector" presStyleLbl="node2" presStyleIdx="2" presStyleCnt="4"/>
      <dgm:spPr/>
      <dgm:t>
        <a:bodyPr/>
        <a:lstStyle/>
        <a:p>
          <a:endParaRPr lang="en-US"/>
        </a:p>
      </dgm:t>
    </dgm:pt>
    <dgm:pt modelId="{29CE8073-D253-4588-B954-7167D33B1947}" type="pres">
      <dgm:prSet presAssocID="{1CE2D78B-C788-472A-8424-7F9A4AB5205E}" presName="hierChild4" presStyleCnt="0"/>
      <dgm:spPr/>
    </dgm:pt>
    <dgm:pt modelId="{AEDC7120-FE6F-49D8-95F2-AB1B2B6AC9A8}" type="pres">
      <dgm:prSet presAssocID="{F0BD47AB-7AC9-40A2-A96D-1A911EFDE7FF}" presName="Name37" presStyleLbl="parChTrans1D3" presStyleIdx="9" presStyleCnt="14"/>
      <dgm:spPr/>
      <dgm:t>
        <a:bodyPr/>
        <a:lstStyle/>
        <a:p>
          <a:endParaRPr lang="en-US"/>
        </a:p>
      </dgm:t>
    </dgm:pt>
    <dgm:pt modelId="{F65159AB-B6AE-4C58-BE85-DB4966F15FBA}" type="pres">
      <dgm:prSet presAssocID="{A240A1E1-162D-4A6E-A806-B6FF45B3AB68}" presName="hierRoot2" presStyleCnt="0">
        <dgm:presLayoutVars>
          <dgm:hierBranch val="init"/>
        </dgm:presLayoutVars>
      </dgm:prSet>
      <dgm:spPr/>
    </dgm:pt>
    <dgm:pt modelId="{4413A7CD-B07B-4481-95F7-63264BEB8326}" type="pres">
      <dgm:prSet presAssocID="{A240A1E1-162D-4A6E-A806-B6FF45B3AB68}" presName="rootComposite" presStyleCnt="0"/>
      <dgm:spPr/>
    </dgm:pt>
    <dgm:pt modelId="{6E033C69-6BA8-4812-AE4E-0022A986E944}" type="pres">
      <dgm:prSet presAssocID="{A240A1E1-162D-4A6E-A806-B6FF45B3AB68}" presName="rootText" presStyleLbl="node3" presStyleIdx="9" presStyleCnt="14" custLinFactX="16434" custLinFactY="20254" custLinFactNeighborX="1000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0C564F4-BF5C-4321-B86B-65391CEDEFC7}" type="pres">
      <dgm:prSet presAssocID="{A240A1E1-162D-4A6E-A806-B6FF45B3AB68}" presName="rootConnector" presStyleLbl="node3" presStyleIdx="9" presStyleCnt="14"/>
      <dgm:spPr/>
      <dgm:t>
        <a:bodyPr/>
        <a:lstStyle/>
        <a:p>
          <a:endParaRPr lang="en-US"/>
        </a:p>
      </dgm:t>
    </dgm:pt>
    <dgm:pt modelId="{7C0A51FE-5187-4FBA-A9F6-DFFAA1B3DD3E}" type="pres">
      <dgm:prSet presAssocID="{A240A1E1-162D-4A6E-A806-B6FF45B3AB68}" presName="hierChild4" presStyleCnt="0"/>
      <dgm:spPr/>
    </dgm:pt>
    <dgm:pt modelId="{A5F1F6CB-B812-4FEA-ACD0-E838992C8274}" type="pres">
      <dgm:prSet presAssocID="{A240A1E1-162D-4A6E-A806-B6FF45B3AB68}" presName="hierChild5" presStyleCnt="0"/>
      <dgm:spPr/>
    </dgm:pt>
    <dgm:pt modelId="{28E82B1A-B1F2-4CC5-9B64-B60015CBF624}" type="pres">
      <dgm:prSet presAssocID="{A60BCA66-49BB-4275-9110-8B471B3FC59B}" presName="Name37" presStyleLbl="parChTrans1D3" presStyleIdx="10" presStyleCnt="14"/>
      <dgm:spPr/>
      <dgm:t>
        <a:bodyPr/>
        <a:lstStyle/>
        <a:p>
          <a:endParaRPr lang="en-US"/>
        </a:p>
      </dgm:t>
    </dgm:pt>
    <dgm:pt modelId="{B22DAA2B-22C5-4EFA-A0A6-9AD0235D2103}" type="pres">
      <dgm:prSet presAssocID="{35016019-1F0E-47A9-A9CB-AE98C0AFCFC1}" presName="hierRoot2" presStyleCnt="0">
        <dgm:presLayoutVars>
          <dgm:hierBranch val="init"/>
        </dgm:presLayoutVars>
      </dgm:prSet>
      <dgm:spPr/>
    </dgm:pt>
    <dgm:pt modelId="{514CA667-AA27-4D37-9311-1D5D85EF643D}" type="pres">
      <dgm:prSet presAssocID="{35016019-1F0E-47A9-A9CB-AE98C0AFCFC1}" presName="rootComposite" presStyleCnt="0"/>
      <dgm:spPr/>
    </dgm:pt>
    <dgm:pt modelId="{428A54D9-43F6-47B6-B3A2-FDCE09CB5A97}" type="pres">
      <dgm:prSet presAssocID="{35016019-1F0E-47A9-A9CB-AE98C0AFCFC1}" presName="rootText" presStyleLbl="node3" presStyleIdx="10" presStyleCnt="14" custLinFactX="16434" custLinFactY="20254" custLinFactNeighborX="1000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1DAB6FE-4097-4695-9397-7DCCE262634B}" type="pres">
      <dgm:prSet presAssocID="{35016019-1F0E-47A9-A9CB-AE98C0AFCFC1}" presName="rootConnector" presStyleLbl="node3" presStyleIdx="10" presStyleCnt="14"/>
      <dgm:spPr/>
      <dgm:t>
        <a:bodyPr/>
        <a:lstStyle/>
        <a:p>
          <a:endParaRPr lang="en-US"/>
        </a:p>
      </dgm:t>
    </dgm:pt>
    <dgm:pt modelId="{F4CC167B-F2F2-455C-9A45-823F18AFEF9A}" type="pres">
      <dgm:prSet presAssocID="{35016019-1F0E-47A9-A9CB-AE98C0AFCFC1}" presName="hierChild4" presStyleCnt="0"/>
      <dgm:spPr/>
    </dgm:pt>
    <dgm:pt modelId="{A5D0575B-48E0-4A98-88E8-8B4961A6F762}" type="pres">
      <dgm:prSet presAssocID="{35016019-1F0E-47A9-A9CB-AE98C0AFCFC1}" presName="hierChild5" presStyleCnt="0"/>
      <dgm:spPr/>
    </dgm:pt>
    <dgm:pt modelId="{11628582-088E-42FA-B6EC-953F652565B0}" type="pres">
      <dgm:prSet presAssocID="{9275B05E-F520-4192-9B33-84AEEBC3F62D}" presName="Name37" presStyleLbl="parChTrans1D3" presStyleIdx="11" presStyleCnt="14"/>
      <dgm:spPr/>
      <dgm:t>
        <a:bodyPr/>
        <a:lstStyle/>
        <a:p>
          <a:endParaRPr lang="en-US"/>
        </a:p>
      </dgm:t>
    </dgm:pt>
    <dgm:pt modelId="{7E6CA653-D7FD-4B20-AE44-C1F44E30C01B}" type="pres">
      <dgm:prSet presAssocID="{49742260-F14F-4BCB-8D88-ADD2EB5024EC}" presName="hierRoot2" presStyleCnt="0">
        <dgm:presLayoutVars>
          <dgm:hierBranch val="init"/>
        </dgm:presLayoutVars>
      </dgm:prSet>
      <dgm:spPr/>
    </dgm:pt>
    <dgm:pt modelId="{E179F35A-A640-480A-9C40-3D39813B5DA3}" type="pres">
      <dgm:prSet presAssocID="{49742260-F14F-4BCB-8D88-ADD2EB5024EC}" presName="rootComposite" presStyleCnt="0"/>
      <dgm:spPr/>
    </dgm:pt>
    <dgm:pt modelId="{93507A0E-B606-4F7A-9C01-283769128FF2}" type="pres">
      <dgm:prSet presAssocID="{49742260-F14F-4BCB-8D88-ADD2EB5024EC}" presName="rootText" presStyleLbl="node3" presStyleIdx="11" presStyleCnt="14" custLinFactX="16434" custLinFactY="20254" custLinFactNeighborX="1000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A7ED8CE-14CF-4D38-BE63-D19E93618025}" type="pres">
      <dgm:prSet presAssocID="{49742260-F14F-4BCB-8D88-ADD2EB5024EC}" presName="rootConnector" presStyleLbl="node3" presStyleIdx="11" presStyleCnt="14"/>
      <dgm:spPr/>
      <dgm:t>
        <a:bodyPr/>
        <a:lstStyle/>
        <a:p>
          <a:endParaRPr lang="en-US"/>
        </a:p>
      </dgm:t>
    </dgm:pt>
    <dgm:pt modelId="{D06BFE77-47E2-4E99-9240-F26F88BFBEAB}" type="pres">
      <dgm:prSet presAssocID="{49742260-F14F-4BCB-8D88-ADD2EB5024EC}" presName="hierChild4" presStyleCnt="0"/>
      <dgm:spPr/>
    </dgm:pt>
    <dgm:pt modelId="{801CA00E-B2B0-4EC5-9889-E9E28C332373}" type="pres">
      <dgm:prSet presAssocID="{49742260-F14F-4BCB-8D88-ADD2EB5024EC}" presName="hierChild5" presStyleCnt="0"/>
      <dgm:spPr/>
    </dgm:pt>
    <dgm:pt modelId="{528156B2-647C-44D5-ABAD-EBDCDF85B348}" type="pres">
      <dgm:prSet presAssocID="{1CE2D78B-C788-472A-8424-7F9A4AB5205E}" presName="hierChild5" presStyleCnt="0"/>
      <dgm:spPr/>
    </dgm:pt>
    <dgm:pt modelId="{B562ECC0-9994-4B01-9E77-D5C13C496118}" type="pres">
      <dgm:prSet presAssocID="{54165FB5-F7A3-4BBF-B199-2BE2BA410DE8}" presName="Name37" presStyleLbl="parChTrans1D2" presStyleIdx="3" presStyleCnt="4"/>
      <dgm:spPr/>
      <dgm:t>
        <a:bodyPr/>
        <a:lstStyle/>
        <a:p>
          <a:endParaRPr lang="en-US"/>
        </a:p>
      </dgm:t>
    </dgm:pt>
    <dgm:pt modelId="{E18799E9-9DA7-423F-B7B3-369EFE76B3B6}" type="pres">
      <dgm:prSet presAssocID="{C35FC96E-9015-4790-BDC3-6E0D4D502FCB}" presName="hierRoot2" presStyleCnt="0">
        <dgm:presLayoutVars>
          <dgm:hierBranch val="init"/>
        </dgm:presLayoutVars>
      </dgm:prSet>
      <dgm:spPr/>
    </dgm:pt>
    <dgm:pt modelId="{354F8417-6C70-4131-8450-E52EDD2EFA17}" type="pres">
      <dgm:prSet presAssocID="{C35FC96E-9015-4790-BDC3-6E0D4D502FCB}" presName="rootComposite" presStyleCnt="0"/>
      <dgm:spPr/>
    </dgm:pt>
    <dgm:pt modelId="{67A44139-B3F0-4118-89E8-A44A0D503C36}" type="pres">
      <dgm:prSet presAssocID="{C35FC96E-9015-4790-BDC3-6E0D4D502FCB}" presName="rootText" presStyleLbl="node2" presStyleIdx="3" presStyleCnt="4" custLinFactNeighborX="53438" custLinFactNeighborY="2985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2267437-59D9-4F70-9854-AF295901641A}" type="pres">
      <dgm:prSet presAssocID="{C35FC96E-9015-4790-BDC3-6E0D4D502FCB}" presName="rootConnector" presStyleLbl="node2" presStyleIdx="3" presStyleCnt="4"/>
      <dgm:spPr/>
      <dgm:t>
        <a:bodyPr/>
        <a:lstStyle/>
        <a:p>
          <a:endParaRPr lang="en-US"/>
        </a:p>
      </dgm:t>
    </dgm:pt>
    <dgm:pt modelId="{A6AF8EE9-DBFC-447B-8940-E76A065FD97B}" type="pres">
      <dgm:prSet presAssocID="{C35FC96E-9015-4790-BDC3-6E0D4D502FCB}" presName="hierChild4" presStyleCnt="0"/>
      <dgm:spPr/>
    </dgm:pt>
    <dgm:pt modelId="{2BC6CEE4-3F67-4FA6-8639-65EC4CCFF4D9}" type="pres">
      <dgm:prSet presAssocID="{4E25AF54-5C18-4905-8913-7D1EA2AC6905}" presName="Name37" presStyleLbl="parChTrans1D3" presStyleIdx="12" presStyleCnt="14"/>
      <dgm:spPr/>
      <dgm:t>
        <a:bodyPr/>
        <a:lstStyle/>
        <a:p>
          <a:endParaRPr lang="en-US"/>
        </a:p>
      </dgm:t>
    </dgm:pt>
    <dgm:pt modelId="{56EAD692-CF12-4F08-9E91-48B2A708FB71}" type="pres">
      <dgm:prSet presAssocID="{AFCA2418-8D6B-4E9C-BE52-FC74C908050F}" presName="hierRoot2" presStyleCnt="0">
        <dgm:presLayoutVars>
          <dgm:hierBranch val="init"/>
        </dgm:presLayoutVars>
      </dgm:prSet>
      <dgm:spPr/>
    </dgm:pt>
    <dgm:pt modelId="{17485795-B1F1-44AB-A6F9-533EF86E010F}" type="pres">
      <dgm:prSet presAssocID="{AFCA2418-8D6B-4E9C-BE52-FC74C908050F}" presName="rootComposite" presStyleCnt="0"/>
      <dgm:spPr/>
    </dgm:pt>
    <dgm:pt modelId="{1B4F947A-69EB-46FF-A1EA-7664283D213E}" type="pres">
      <dgm:prSet presAssocID="{AFCA2418-8D6B-4E9C-BE52-FC74C908050F}" presName="rootText" presStyleLbl="node3" presStyleIdx="12" presStyleCnt="14" custScaleX="167040" custScaleY="138944" custLinFactX="100000" custLinFactY="47441" custLinFactNeighborX="145609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553D0C6-AEE4-4F65-8DAC-62449D94D6A7}" type="pres">
      <dgm:prSet presAssocID="{AFCA2418-8D6B-4E9C-BE52-FC74C908050F}" presName="rootConnector" presStyleLbl="node3" presStyleIdx="12" presStyleCnt="14"/>
      <dgm:spPr/>
      <dgm:t>
        <a:bodyPr/>
        <a:lstStyle/>
        <a:p>
          <a:endParaRPr lang="en-US"/>
        </a:p>
      </dgm:t>
    </dgm:pt>
    <dgm:pt modelId="{704B6FE3-1A93-464C-BD7D-26786EA03069}" type="pres">
      <dgm:prSet presAssocID="{AFCA2418-8D6B-4E9C-BE52-FC74C908050F}" presName="hierChild4" presStyleCnt="0"/>
      <dgm:spPr/>
    </dgm:pt>
    <dgm:pt modelId="{DA9CB0A7-0D84-4FCC-8CAA-C663566F179D}" type="pres">
      <dgm:prSet presAssocID="{AFCA2418-8D6B-4E9C-BE52-FC74C908050F}" presName="hierChild5" presStyleCnt="0"/>
      <dgm:spPr/>
    </dgm:pt>
    <dgm:pt modelId="{981682D2-6375-4500-994F-C7CC83594561}" type="pres">
      <dgm:prSet presAssocID="{645C00E4-762B-4277-AD48-4328B4AF7430}" presName="Name37" presStyleLbl="parChTrans1D3" presStyleIdx="13" presStyleCnt="14"/>
      <dgm:spPr/>
      <dgm:t>
        <a:bodyPr/>
        <a:lstStyle/>
        <a:p>
          <a:endParaRPr lang="en-US"/>
        </a:p>
      </dgm:t>
    </dgm:pt>
    <dgm:pt modelId="{5AD24796-DC78-4C67-B9F3-06DC4CB79087}" type="pres">
      <dgm:prSet presAssocID="{C6E107C8-C87F-4E03-9C51-3B0FC309122B}" presName="hierRoot2" presStyleCnt="0">
        <dgm:presLayoutVars>
          <dgm:hierBranch val="init"/>
        </dgm:presLayoutVars>
      </dgm:prSet>
      <dgm:spPr/>
    </dgm:pt>
    <dgm:pt modelId="{0E2F19BE-3966-4520-8470-5F47706807ED}" type="pres">
      <dgm:prSet presAssocID="{C6E107C8-C87F-4E03-9C51-3B0FC309122B}" presName="rootComposite" presStyleCnt="0"/>
      <dgm:spPr/>
    </dgm:pt>
    <dgm:pt modelId="{78B1DB83-1FBB-4B72-AADA-6CBB1DAEF356}" type="pres">
      <dgm:prSet presAssocID="{C6E107C8-C87F-4E03-9C51-3B0FC309122B}" presName="rootText" presStyleLbl="node3" presStyleIdx="13" presStyleCnt="14" custScaleX="182665" custLinFactY="153975" custLinFactNeighborX="-26776" custLinFactNeighborY="2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B23809A-293F-4A54-B283-6C2D984F118D}" type="pres">
      <dgm:prSet presAssocID="{C6E107C8-C87F-4E03-9C51-3B0FC309122B}" presName="rootConnector" presStyleLbl="node3" presStyleIdx="13" presStyleCnt="14"/>
      <dgm:spPr/>
      <dgm:t>
        <a:bodyPr/>
        <a:lstStyle/>
        <a:p>
          <a:endParaRPr lang="en-US"/>
        </a:p>
      </dgm:t>
    </dgm:pt>
    <dgm:pt modelId="{9F248D76-C2BC-4060-8C04-B530C444F409}" type="pres">
      <dgm:prSet presAssocID="{C6E107C8-C87F-4E03-9C51-3B0FC309122B}" presName="hierChild4" presStyleCnt="0"/>
      <dgm:spPr/>
    </dgm:pt>
    <dgm:pt modelId="{AD70828E-DDD4-480C-BDFF-1E596F6615D1}" type="pres">
      <dgm:prSet presAssocID="{28774598-E592-4921-B255-0225EB6D096E}" presName="Name37" presStyleLbl="parChTrans1D4" presStyleIdx="0" presStyleCnt="1"/>
      <dgm:spPr/>
      <dgm:t>
        <a:bodyPr/>
        <a:lstStyle/>
        <a:p>
          <a:endParaRPr lang="en-US"/>
        </a:p>
      </dgm:t>
    </dgm:pt>
    <dgm:pt modelId="{147EF30B-BA3D-4473-9AD2-CC7014F27C11}" type="pres">
      <dgm:prSet presAssocID="{09967023-FD4B-4E34-A1C9-A393B75E32BA}" presName="hierRoot2" presStyleCnt="0">
        <dgm:presLayoutVars>
          <dgm:hierBranch val="init"/>
        </dgm:presLayoutVars>
      </dgm:prSet>
      <dgm:spPr/>
    </dgm:pt>
    <dgm:pt modelId="{77306BB1-6CDB-40C5-85B1-4980890A9206}" type="pres">
      <dgm:prSet presAssocID="{09967023-FD4B-4E34-A1C9-A393B75E32BA}" presName="rootComposite" presStyleCnt="0"/>
      <dgm:spPr/>
    </dgm:pt>
    <dgm:pt modelId="{43C79B55-7800-4403-B3B4-49E5363FFF1E}" type="pres">
      <dgm:prSet presAssocID="{09967023-FD4B-4E34-A1C9-A393B75E32BA}" presName="rootText" presStyleLbl="node4" presStyleIdx="0" presStyleCnt="1" custScaleX="178849" custScaleY="100000" custLinFactY="200000" custLinFactNeighborX="-36429" custLinFactNeighborY="21923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D009694-C9A9-4545-B9B4-AE343C4C6314}" type="pres">
      <dgm:prSet presAssocID="{09967023-FD4B-4E34-A1C9-A393B75E32BA}" presName="rootConnector" presStyleLbl="node4" presStyleIdx="0" presStyleCnt="1"/>
      <dgm:spPr/>
      <dgm:t>
        <a:bodyPr/>
        <a:lstStyle/>
        <a:p>
          <a:endParaRPr lang="en-US"/>
        </a:p>
      </dgm:t>
    </dgm:pt>
    <dgm:pt modelId="{E7CAB4B1-64D6-4507-9B2D-46604CB6848C}" type="pres">
      <dgm:prSet presAssocID="{09967023-FD4B-4E34-A1C9-A393B75E32BA}" presName="hierChild4" presStyleCnt="0"/>
      <dgm:spPr/>
    </dgm:pt>
    <dgm:pt modelId="{283463B1-15A6-4BEF-B96E-DE2502D9F6DF}" type="pres">
      <dgm:prSet presAssocID="{09967023-FD4B-4E34-A1C9-A393B75E32BA}" presName="hierChild5" presStyleCnt="0"/>
      <dgm:spPr/>
    </dgm:pt>
    <dgm:pt modelId="{6105CD00-5C50-452A-994E-5B0FFFC4DA91}" type="pres">
      <dgm:prSet presAssocID="{C6E107C8-C87F-4E03-9C51-3B0FC309122B}" presName="hierChild5" presStyleCnt="0"/>
      <dgm:spPr/>
    </dgm:pt>
    <dgm:pt modelId="{430C728D-004C-49FD-A0C1-71CD6E772786}" type="pres">
      <dgm:prSet presAssocID="{C35FC96E-9015-4790-BDC3-6E0D4D502FCB}" presName="hierChild5" presStyleCnt="0"/>
      <dgm:spPr/>
    </dgm:pt>
    <dgm:pt modelId="{B87F60ED-85BE-4872-BA6E-CDCB9CBDC6A3}" type="pres">
      <dgm:prSet presAssocID="{43BDC9E6-B3ED-4E11-B81F-A36F96CA06AD}" presName="hierChild3" presStyleCnt="0"/>
      <dgm:spPr/>
    </dgm:pt>
  </dgm:ptLst>
  <dgm:cxnLst>
    <dgm:cxn modelId="{14F24884-C5FF-4401-9E7C-56467D9B6857}" type="presOf" srcId="{843E3B21-DC9F-4CF8-A7F1-93BF704E47A7}" destId="{AB22B6A5-BFAD-4E5F-BED0-C002FA69FEEF}" srcOrd="1" destOrd="0" presId="urn:microsoft.com/office/officeart/2005/8/layout/orgChart1"/>
    <dgm:cxn modelId="{06E71150-3811-4FC5-8858-0203DD6C998E}" srcId="{E420C67E-C4C2-476B-9B47-FFB47D587009}" destId="{2F6572D1-3E4E-41CC-B816-15F6AA753750}" srcOrd="2" destOrd="0" parTransId="{453F9760-1876-428B-8CB6-DA8F60516D89}" sibTransId="{F36BC338-6ADD-4D27-8F50-A2943AF092AF}"/>
    <dgm:cxn modelId="{AF611182-AAE8-4190-BE35-A2473E50306B}" srcId="{C35FC96E-9015-4790-BDC3-6E0D4D502FCB}" destId="{C6E107C8-C87F-4E03-9C51-3B0FC309122B}" srcOrd="1" destOrd="0" parTransId="{645C00E4-762B-4277-AD48-4328B4AF7430}" sibTransId="{E622C44F-BC5B-49E7-9D58-720E5F6040E1}"/>
    <dgm:cxn modelId="{EE584739-1DCD-43D7-A520-3DD126B8322B}" type="presOf" srcId="{2F6572D1-3E4E-41CC-B816-15F6AA753750}" destId="{C3C99CCA-0A47-4420-ABC8-53654C0C3796}" srcOrd="1" destOrd="0" presId="urn:microsoft.com/office/officeart/2005/8/layout/orgChart1"/>
    <dgm:cxn modelId="{2648CEB6-4DB9-42A6-B700-4831395E15AC}" srcId="{843E3B21-DC9F-4CF8-A7F1-93BF704E47A7}" destId="{7D7C3FA2-CE75-4B7D-A218-416906B8D917}" srcOrd="1" destOrd="0" parTransId="{14236E25-24F5-4DBC-8E23-FED5A30DEF0E}" sibTransId="{FB40D391-DB77-4C2C-BDCE-7A207CEAE6FE}"/>
    <dgm:cxn modelId="{7786FFB2-66F3-450C-8250-2B94D8B4297A}" type="presOf" srcId="{9B931718-FC68-4B2E-9854-492BCFE6FE83}" destId="{700B55C8-272E-490B-AB5F-A5C6369E8C79}" srcOrd="1" destOrd="0" presId="urn:microsoft.com/office/officeart/2005/8/layout/orgChart1"/>
    <dgm:cxn modelId="{BF0DC91D-EC32-48A1-86C8-FAB69550103E}" srcId="{843E3B21-DC9F-4CF8-A7F1-93BF704E47A7}" destId="{0B5A8C4E-0287-4775-89CD-4F33BAC9506F}" srcOrd="3" destOrd="0" parTransId="{EF032B47-594B-4FE2-82AA-11F85DCB3B05}" sibTransId="{54EDCA25-2AA2-4C65-8635-EE0E2A7EF78B}"/>
    <dgm:cxn modelId="{C331B05D-F4AA-4A64-8C0C-B17C1B70EB53}" type="presOf" srcId="{65D088B7-B36E-49AA-84B9-2BC51B326EA1}" destId="{96956835-3386-449C-A89B-65F7C680246D}" srcOrd="0" destOrd="0" presId="urn:microsoft.com/office/officeart/2005/8/layout/orgChart1"/>
    <dgm:cxn modelId="{EF17C288-FABF-470A-9F6E-6F1AC60C08BE}" srcId="{E420C67E-C4C2-476B-9B47-FFB47D587009}" destId="{0216D3CF-84E5-4443-8082-6C6C297E9A4D}" srcOrd="0" destOrd="0" parTransId="{C3334397-F4C9-43FD-9DE7-786437A51BF8}" sibTransId="{9C27E3D0-AEBB-4C4C-AFEA-8F9AF608B21E}"/>
    <dgm:cxn modelId="{632266D1-28B6-4AA3-A232-C4ED053D6FFE}" type="presOf" srcId="{09967023-FD4B-4E34-A1C9-A393B75E32BA}" destId="{FD009694-C9A9-4545-B9B4-AE343C4C6314}" srcOrd="1" destOrd="0" presId="urn:microsoft.com/office/officeart/2005/8/layout/orgChart1"/>
    <dgm:cxn modelId="{C5546343-564D-49D9-825A-0A61BD18EE13}" type="presOf" srcId="{F0BD47AB-7AC9-40A2-A96D-1A911EFDE7FF}" destId="{AEDC7120-FE6F-49D8-95F2-AB1B2B6AC9A8}" srcOrd="0" destOrd="0" presId="urn:microsoft.com/office/officeart/2005/8/layout/orgChart1"/>
    <dgm:cxn modelId="{12EE1131-EE73-4A14-AFCA-EF06CB04305C}" type="presOf" srcId="{49742260-F14F-4BCB-8D88-ADD2EB5024EC}" destId="{FA7ED8CE-14CF-4D38-BE63-D19E93618025}" srcOrd="1" destOrd="0" presId="urn:microsoft.com/office/officeart/2005/8/layout/orgChart1"/>
    <dgm:cxn modelId="{A0E66910-A417-4433-846A-E364FADC3533}" srcId="{1CE2D78B-C788-472A-8424-7F9A4AB5205E}" destId="{49742260-F14F-4BCB-8D88-ADD2EB5024EC}" srcOrd="2" destOrd="0" parTransId="{9275B05E-F520-4192-9B33-84AEEBC3F62D}" sibTransId="{BDB94797-518D-4543-8D6F-13596FEC7A22}"/>
    <dgm:cxn modelId="{748D3F4D-EA7E-436E-9440-8FF6E4F9489B}" type="presOf" srcId="{35016019-1F0E-47A9-A9CB-AE98C0AFCFC1}" destId="{31DAB6FE-4097-4695-9397-7DCCE262634B}" srcOrd="1" destOrd="0" presId="urn:microsoft.com/office/officeart/2005/8/layout/orgChart1"/>
    <dgm:cxn modelId="{7ED38847-D011-4442-925B-A39CE67FBB6B}" type="presOf" srcId="{A26E1133-27F8-42A1-91FE-23383B9ACC99}" destId="{E9F5810C-05C5-4937-8779-609DD6BD5CFD}" srcOrd="0" destOrd="0" presId="urn:microsoft.com/office/officeart/2005/8/layout/orgChart1"/>
    <dgm:cxn modelId="{E570CB37-A728-47F5-8287-FED01EA4B712}" type="presOf" srcId="{1CE2D78B-C788-472A-8424-7F9A4AB5205E}" destId="{A5F2589C-C16C-45F2-9A3D-F2A6CB2476D1}" srcOrd="0" destOrd="0" presId="urn:microsoft.com/office/officeart/2005/8/layout/orgChart1"/>
    <dgm:cxn modelId="{1D068B08-E45A-409D-B303-0D41DCEFF7F3}" type="presOf" srcId="{35016019-1F0E-47A9-A9CB-AE98C0AFCFC1}" destId="{428A54D9-43F6-47B6-B3A2-FDCE09CB5A97}" srcOrd="0" destOrd="0" presId="urn:microsoft.com/office/officeart/2005/8/layout/orgChart1"/>
    <dgm:cxn modelId="{AE14E3F5-671E-4D96-9AC4-B97B37B24BF8}" type="presOf" srcId="{CFEBB133-5D80-4E9D-815E-BA7E2B5804D2}" destId="{50D60845-A14B-4DD0-8DB4-8B07FEB31A21}" srcOrd="0" destOrd="0" presId="urn:microsoft.com/office/officeart/2005/8/layout/orgChart1"/>
    <dgm:cxn modelId="{ACDB011B-D61A-4954-82F8-38208E186AD9}" type="presOf" srcId="{E420C67E-C4C2-476B-9B47-FFB47D587009}" destId="{45256018-C335-4CDB-9EC5-7AE2ABAC1E00}" srcOrd="1" destOrd="0" presId="urn:microsoft.com/office/officeart/2005/8/layout/orgChart1"/>
    <dgm:cxn modelId="{7F22D37B-193E-4834-BB21-5A9C44B836DA}" type="presOf" srcId="{14236E25-24F5-4DBC-8E23-FED5A30DEF0E}" destId="{A2B3E9C0-0CE1-4B88-9E71-F7CE1A7F99D7}" srcOrd="0" destOrd="0" presId="urn:microsoft.com/office/officeart/2005/8/layout/orgChart1"/>
    <dgm:cxn modelId="{DB925F6A-7761-4D5E-84C9-D63652FE2570}" srcId="{C6E107C8-C87F-4E03-9C51-3B0FC309122B}" destId="{09967023-FD4B-4E34-A1C9-A393B75E32BA}" srcOrd="0" destOrd="0" parTransId="{28774598-E592-4921-B255-0225EB6D096E}" sibTransId="{0B7B4A03-7BEB-45DD-A62C-7505C5BC4A5B}"/>
    <dgm:cxn modelId="{6D26B294-B234-469C-A644-0ECE5E54A957}" type="presOf" srcId="{CFEBB133-5D80-4E9D-815E-BA7E2B5804D2}" destId="{F55C39B9-C17D-4782-B68D-D9F73AAEE095}" srcOrd="1" destOrd="0" presId="urn:microsoft.com/office/officeart/2005/8/layout/orgChart1"/>
    <dgm:cxn modelId="{7CF9583E-6843-4035-98CC-87689968C53C}" type="presOf" srcId="{0B5A8C4E-0287-4775-89CD-4F33BAC9506F}" destId="{E4F391C2-584B-4F01-9A6E-BB77AA2A997A}" srcOrd="1" destOrd="0" presId="urn:microsoft.com/office/officeart/2005/8/layout/orgChart1"/>
    <dgm:cxn modelId="{14B4253D-BF89-4997-AE1E-12556155E4B4}" type="presOf" srcId="{453F9760-1876-428B-8CB6-DA8F60516D89}" destId="{1D4D3FE4-1739-4B3C-ACD2-597D18FBC50F}" srcOrd="0" destOrd="0" presId="urn:microsoft.com/office/officeart/2005/8/layout/orgChart1"/>
    <dgm:cxn modelId="{DC6626F7-4C9F-442F-B2D2-6F87A0925FA2}" type="presOf" srcId="{2F6572D1-3E4E-41CC-B816-15F6AA753750}" destId="{7BABB840-5689-4566-85C9-55C4A127C4C6}" srcOrd="0" destOrd="0" presId="urn:microsoft.com/office/officeart/2005/8/layout/orgChart1"/>
    <dgm:cxn modelId="{1FC256DA-757E-4BDE-847B-B2263CA0AF5D}" type="presOf" srcId="{1CE2D78B-C788-472A-8424-7F9A4AB5205E}" destId="{6D7B6648-0B7F-4E1F-B6C5-CE0E2F04B9FF}" srcOrd="1" destOrd="0" presId="urn:microsoft.com/office/officeart/2005/8/layout/orgChart1"/>
    <dgm:cxn modelId="{A3516C6D-B8CE-4619-A06C-B712D85C5452}" type="presOf" srcId="{C35FC96E-9015-4790-BDC3-6E0D4D502FCB}" destId="{67A44139-B3F0-4118-89E8-A44A0D503C36}" srcOrd="0" destOrd="0" presId="urn:microsoft.com/office/officeart/2005/8/layout/orgChart1"/>
    <dgm:cxn modelId="{FA61A61C-0CC8-4ECE-A42D-049DC285489C}" type="presOf" srcId="{C3334397-F4C9-43FD-9DE7-786437A51BF8}" destId="{CC07306D-4BD7-4477-BB61-A954489058D6}" srcOrd="0" destOrd="0" presId="urn:microsoft.com/office/officeart/2005/8/layout/orgChart1"/>
    <dgm:cxn modelId="{F0C0AED6-3BFB-430A-84C4-C1842ECA49F1}" srcId="{1CE2D78B-C788-472A-8424-7F9A4AB5205E}" destId="{35016019-1F0E-47A9-A9CB-AE98C0AFCFC1}" srcOrd="1" destOrd="0" parTransId="{A60BCA66-49BB-4275-9110-8B471B3FC59B}" sibTransId="{549EC933-326F-43C6-A4AD-B0C6604A5CF9}"/>
    <dgm:cxn modelId="{0DA247F3-14E7-4A11-86B3-F435E2E3FD58}" type="presOf" srcId="{43BDC9E6-B3ED-4E11-B81F-A36F96CA06AD}" destId="{1AD90FEA-3135-49C2-A3C0-CFEDDC6405B3}" srcOrd="0" destOrd="0" presId="urn:microsoft.com/office/officeart/2005/8/layout/orgChart1"/>
    <dgm:cxn modelId="{C4B42AB0-EF2A-4EA1-9B27-244E9CE4381E}" type="presOf" srcId="{EF032B47-594B-4FE2-82AA-11F85DCB3B05}" destId="{6262AD45-37CE-4E4E-81E1-98A75BFFED33}" srcOrd="0" destOrd="0" presId="urn:microsoft.com/office/officeart/2005/8/layout/orgChart1"/>
    <dgm:cxn modelId="{D032D0BD-4B7C-4DD6-ACAC-A7BA47B7E2CC}" type="presOf" srcId="{645C00E4-762B-4277-AD48-4328B4AF7430}" destId="{981682D2-6375-4500-994F-C7CC83594561}" srcOrd="0" destOrd="0" presId="urn:microsoft.com/office/officeart/2005/8/layout/orgChart1"/>
    <dgm:cxn modelId="{B9714382-66DB-4676-A88E-75D9DD1E7C92}" type="presOf" srcId="{54165FB5-F7A3-4BBF-B199-2BE2BA410DE8}" destId="{B562ECC0-9994-4B01-9E77-D5C13C496118}" srcOrd="0" destOrd="0" presId="urn:microsoft.com/office/officeart/2005/8/layout/orgChart1"/>
    <dgm:cxn modelId="{6319D83A-8F67-4EDD-8B5B-12D6451C3E8C}" type="presOf" srcId="{720AE7B9-47AD-4FF9-8447-DF1B8C5FD193}" destId="{1D0BA542-EABF-46D4-A11D-8954A50A4A27}" srcOrd="1" destOrd="0" presId="urn:microsoft.com/office/officeart/2005/8/layout/orgChart1"/>
    <dgm:cxn modelId="{7494DFEA-C9FD-492C-B022-7A748A2E1109}" type="presOf" srcId="{A240A1E1-162D-4A6E-A806-B6FF45B3AB68}" destId="{6E033C69-6BA8-4812-AE4E-0022A986E944}" srcOrd="0" destOrd="0" presId="urn:microsoft.com/office/officeart/2005/8/layout/orgChart1"/>
    <dgm:cxn modelId="{E3C5F775-ADEF-40AA-8502-6657CE3F9DFD}" type="presOf" srcId="{43BDC9E6-B3ED-4E11-B81F-A36F96CA06AD}" destId="{6EF86BC6-06CE-4768-9942-F4420543D5EE}" srcOrd="1" destOrd="0" presId="urn:microsoft.com/office/officeart/2005/8/layout/orgChart1"/>
    <dgm:cxn modelId="{C159F786-ED38-476E-9CAF-598C4BA6A40C}" srcId="{43BDC9E6-B3ED-4E11-B81F-A36F96CA06AD}" destId="{C35FC96E-9015-4790-BDC3-6E0D4D502FCB}" srcOrd="3" destOrd="0" parTransId="{54165FB5-F7A3-4BBF-B199-2BE2BA410DE8}" sibTransId="{599E3296-C316-405C-B222-CEA737D995B5}"/>
    <dgm:cxn modelId="{30D3CBF0-3F69-45C1-8D6D-ED05593478C7}" type="presOf" srcId="{7D7C3FA2-CE75-4B7D-A218-416906B8D917}" destId="{63F8734B-291F-4EE9-8AEC-5D7130065FE8}" srcOrd="1" destOrd="0" presId="urn:microsoft.com/office/officeart/2005/8/layout/orgChart1"/>
    <dgm:cxn modelId="{A3E8B564-06C6-4FB7-ACF5-EDF45F951C76}" type="presOf" srcId="{28774598-E592-4921-B255-0225EB6D096E}" destId="{AD70828E-DDD4-480C-BDFF-1E596F6615D1}" srcOrd="0" destOrd="0" presId="urn:microsoft.com/office/officeart/2005/8/layout/orgChart1"/>
    <dgm:cxn modelId="{B4D7048B-9E2A-4743-A306-0C28912A7BDB}" type="presOf" srcId="{E420C67E-C4C2-476B-9B47-FFB47D587009}" destId="{F0ED6141-24DB-4164-A2D4-B51E750525CD}" srcOrd="0" destOrd="0" presId="urn:microsoft.com/office/officeart/2005/8/layout/orgChart1"/>
    <dgm:cxn modelId="{7BB84E76-CF6C-4C5A-83A2-345CCC55E9F2}" type="presOf" srcId="{90833815-F732-45AF-B735-7A208BE16A8A}" destId="{8FF15CAA-9BF1-4437-B877-2B6831555847}" srcOrd="1" destOrd="0" presId="urn:microsoft.com/office/officeart/2005/8/layout/orgChart1"/>
    <dgm:cxn modelId="{5FB74149-E775-490E-9FC2-10E75883C9B2}" type="presOf" srcId="{A60BCA66-49BB-4275-9110-8B471B3FC59B}" destId="{28E82B1A-B1F2-4CC5-9B64-B60015CBF624}" srcOrd="0" destOrd="0" presId="urn:microsoft.com/office/officeart/2005/8/layout/orgChart1"/>
    <dgm:cxn modelId="{662D543B-E0F4-4F38-841E-FD19D343E8A6}" type="presOf" srcId="{7D7C3FA2-CE75-4B7D-A218-416906B8D917}" destId="{A77E27D0-EFD7-495B-9E1A-5A5371B8AB84}" srcOrd="0" destOrd="0" presId="urn:microsoft.com/office/officeart/2005/8/layout/orgChart1"/>
    <dgm:cxn modelId="{189FC41F-1D3B-4B2C-AE2C-9547F30DBB11}" type="presOf" srcId="{49742260-F14F-4BCB-8D88-ADD2EB5024EC}" destId="{93507A0E-B606-4F7A-9C01-283769128FF2}" srcOrd="0" destOrd="0" presId="urn:microsoft.com/office/officeart/2005/8/layout/orgChart1"/>
    <dgm:cxn modelId="{6E2E3B55-A6EB-46D7-B7D0-04629FD4C800}" srcId="{843E3B21-DC9F-4CF8-A7F1-93BF704E47A7}" destId="{9B931718-FC68-4B2E-9854-492BCFE6FE83}" srcOrd="2" destOrd="0" parTransId="{359E2506-5D19-4F9C-8688-C666576175A9}" sibTransId="{3113A228-1208-4305-91A0-AEEDFF54B5B2}"/>
    <dgm:cxn modelId="{8C84E214-123B-4F7D-973E-76845F16AB81}" type="presOf" srcId="{6C5C9B86-7AAA-465B-98FF-E3F38189A3AE}" destId="{3A94D9E8-C2A3-4765-9477-D710CC646957}" srcOrd="0" destOrd="0" presId="urn:microsoft.com/office/officeart/2005/8/layout/orgChart1"/>
    <dgm:cxn modelId="{F1F14914-1A42-46C0-B79C-ADABA1804F35}" type="presOf" srcId="{AFCA2418-8D6B-4E9C-BE52-FC74C908050F}" destId="{C553D0C6-AEE4-4F65-8DAC-62449D94D6A7}" srcOrd="1" destOrd="0" presId="urn:microsoft.com/office/officeart/2005/8/layout/orgChart1"/>
    <dgm:cxn modelId="{16CF0CE9-2C64-449F-9E97-22B442B84CC5}" type="presOf" srcId="{B8FD3D24-FF5C-481A-BFA0-ACCFF5DDB239}" destId="{6240857E-8E92-4FD3-BB54-32F6C167CD09}" srcOrd="0" destOrd="0" presId="urn:microsoft.com/office/officeart/2005/8/layout/orgChart1"/>
    <dgm:cxn modelId="{49A79FAB-CE2A-4678-A1F9-C1E738D87700}" type="presOf" srcId="{C35FC96E-9015-4790-BDC3-6E0D4D502FCB}" destId="{B2267437-59D9-4F70-9854-AF295901641A}" srcOrd="1" destOrd="0" presId="urn:microsoft.com/office/officeart/2005/8/layout/orgChart1"/>
    <dgm:cxn modelId="{DF8EFE69-D974-45AC-93CD-31D1A9FA4F65}" type="presOf" srcId="{52015A54-073D-4B92-8FF1-0F1F5FE1561A}" destId="{E9D97F7E-F6E2-4876-9CCF-33FF7FB7A306}" srcOrd="1" destOrd="0" presId="urn:microsoft.com/office/officeart/2005/8/layout/orgChart1"/>
    <dgm:cxn modelId="{27E41733-29E4-4762-83A4-B9E6C7181D63}" type="presOf" srcId="{A240A1E1-162D-4A6E-A806-B6FF45B3AB68}" destId="{20C564F4-BF5C-4321-B86B-65391CEDEFC7}" srcOrd="1" destOrd="0" presId="urn:microsoft.com/office/officeart/2005/8/layout/orgChart1"/>
    <dgm:cxn modelId="{63E255D4-8244-414A-8009-0721C4A95D13}" type="presOf" srcId="{3722DDF4-26E2-4422-A516-DEEAC3ECF65B}" destId="{A83ED5F7-10A0-45C9-B814-5804FA76917E}" srcOrd="0" destOrd="0" presId="urn:microsoft.com/office/officeart/2005/8/layout/orgChart1"/>
    <dgm:cxn modelId="{2AC6A1A2-FDAF-4C07-BF93-78DC05214544}" srcId="{43BDC9E6-B3ED-4E11-B81F-A36F96CA06AD}" destId="{E420C67E-C4C2-476B-9B47-FFB47D587009}" srcOrd="1" destOrd="0" parTransId="{65D088B7-B36E-49AA-84B9-2BC51B326EA1}" sibTransId="{7CC715FB-928E-4CFE-A8F5-045F16B2D743}"/>
    <dgm:cxn modelId="{26170881-0D1F-4253-95A3-C86DFF31CCDA}" type="presOf" srcId="{3EEFE082-C4FA-499A-BA01-E4B8217A4B73}" destId="{A3BC68A0-CABF-4126-884C-C90818E1E26E}" srcOrd="0" destOrd="0" presId="urn:microsoft.com/office/officeart/2005/8/layout/orgChart1"/>
    <dgm:cxn modelId="{9F430859-2113-499A-851E-CFEA1544E669}" type="presOf" srcId="{0216D3CF-84E5-4443-8082-6C6C297E9A4D}" destId="{CF9F174C-7D69-49F6-A7FE-7ED9990EB82A}" srcOrd="1" destOrd="0" presId="urn:microsoft.com/office/officeart/2005/8/layout/orgChart1"/>
    <dgm:cxn modelId="{52038F35-256A-492E-B6DB-A8150F710C2A}" type="presOf" srcId="{720AE7B9-47AD-4FF9-8447-DF1B8C5FD193}" destId="{1064D61A-5C37-497D-A6F5-6312AB6E3F5A}" srcOrd="0" destOrd="0" presId="urn:microsoft.com/office/officeart/2005/8/layout/orgChart1"/>
    <dgm:cxn modelId="{E3A03265-3454-4AD4-8AFE-15EA6AEE5938}" type="presOf" srcId="{C6E107C8-C87F-4E03-9C51-3B0FC309122B}" destId="{78B1DB83-1FBB-4B72-AADA-6CBB1DAEF356}" srcOrd="0" destOrd="0" presId="urn:microsoft.com/office/officeart/2005/8/layout/orgChart1"/>
    <dgm:cxn modelId="{9449FADE-4AF3-4192-9156-1047A987E6EC}" type="presOf" srcId="{52015A54-073D-4B92-8FF1-0F1F5FE1561A}" destId="{BD1C35E1-9751-4DD4-B9AF-1CFE8C8B4E70}" srcOrd="0" destOrd="0" presId="urn:microsoft.com/office/officeart/2005/8/layout/orgChart1"/>
    <dgm:cxn modelId="{C7B12242-93F1-42B1-8149-73B2BE7E9DC0}" srcId="{843E3B21-DC9F-4CF8-A7F1-93BF704E47A7}" destId="{720AE7B9-47AD-4FF9-8447-DF1B8C5FD193}" srcOrd="0" destOrd="0" parTransId="{3722DDF4-26E2-4422-A516-DEEAC3ECF65B}" sibTransId="{D7F902F3-F976-415B-98C3-59057320C539}"/>
    <dgm:cxn modelId="{E68DCB06-1EBE-4514-ACC5-2A06AF9000CD}" type="presOf" srcId="{6ED4E1AA-EFDD-4E70-836E-3DB36084DE98}" destId="{C137CAE9-66E1-459B-A733-9B53B02E07AF}" srcOrd="0" destOrd="0" presId="urn:microsoft.com/office/officeart/2005/8/layout/orgChart1"/>
    <dgm:cxn modelId="{1BF6EE7C-FD33-42C1-8AE0-5A1F1C591DFD}" type="presOf" srcId="{9B931718-FC68-4B2E-9854-492BCFE6FE83}" destId="{984A4F3B-0A00-4E5A-9092-1922B8A7FAB3}" srcOrd="0" destOrd="0" presId="urn:microsoft.com/office/officeart/2005/8/layout/orgChart1"/>
    <dgm:cxn modelId="{E040E2E2-F016-4F82-9927-EA3D62DA0F57}" srcId="{A26E1133-27F8-42A1-91FE-23383B9ACC99}" destId="{43BDC9E6-B3ED-4E11-B81F-A36F96CA06AD}" srcOrd="0" destOrd="0" parTransId="{818B4425-229C-4D05-BD73-F2583AB7B9C5}" sibTransId="{A3D2AA9D-1D2C-45CA-9A99-0FD9E343747F}"/>
    <dgm:cxn modelId="{0215B643-291A-427F-AF11-67209E798E31}" type="presOf" srcId="{AFCA2418-8D6B-4E9C-BE52-FC74C908050F}" destId="{1B4F947A-69EB-46FF-A1EA-7664283D213E}" srcOrd="0" destOrd="0" presId="urn:microsoft.com/office/officeart/2005/8/layout/orgChart1"/>
    <dgm:cxn modelId="{D5303A83-A782-4BB6-B537-EB76AE21A31F}" srcId="{E420C67E-C4C2-476B-9B47-FFB47D587009}" destId="{52015A54-073D-4B92-8FF1-0F1F5FE1561A}" srcOrd="4" destOrd="0" parTransId="{B8FD3D24-FF5C-481A-BFA0-ACCFF5DDB239}" sibTransId="{D70B0E39-2F64-4487-9F50-BA872A45E49A}"/>
    <dgm:cxn modelId="{9E37944A-8403-4B29-AA6C-708D381DF7DD}" type="presOf" srcId="{9275B05E-F520-4192-9B33-84AEEBC3F62D}" destId="{11628582-088E-42FA-B6EC-953F652565B0}" srcOrd="0" destOrd="0" presId="urn:microsoft.com/office/officeart/2005/8/layout/orgChart1"/>
    <dgm:cxn modelId="{3C110BFF-FD87-473E-9985-0D9D761E60BD}" srcId="{43BDC9E6-B3ED-4E11-B81F-A36F96CA06AD}" destId="{843E3B21-DC9F-4CF8-A7F1-93BF704E47A7}" srcOrd="0" destOrd="0" parTransId="{3EEFE082-C4FA-499A-BA01-E4B8217A4B73}" sibTransId="{2992CB8F-FBF4-486F-BE86-7AEC96D28238}"/>
    <dgm:cxn modelId="{0D252A7C-EA88-478B-9AB7-96B65AE1E68A}" srcId="{43BDC9E6-B3ED-4E11-B81F-A36F96CA06AD}" destId="{1CE2D78B-C788-472A-8424-7F9A4AB5205E}" srcOrd="2" destOrd="0" parTransId="{6ED4E1AA-EFDD-4E70-836E-3DB36084DE98}" sibTransId="{1D0F051B-C9A8-457A-BE08-985EF4C28172}"/>
    <dgm:cxn modelId="{CCB5AE26-70F4-4C5B-B53D-136E39A12AC5}" srcId="{1CE2D78B-C788-472A-8424-7F9A4AB5205E}" destId="{A240A1E1-162D-4A6E-A806-B6FF45B3AB68}" srcOrd="0" destOrd="0" parTransId="{F0BD47AB-7AC9-40A2-A96D-1A911EFDE7FF}" sibTransId="{A12D77FB-8453-4F78-A007-65AD68966259}"/>
    <dgm:cxn modelId="{193CD16F-C977-4440-B10A-C000A7D4E4F9}" type="presOf" srcId="{09967023-FD4B-4E34-A1C9-A393B75E32BA}" destId="{43C79B55-7800-4403-B3B4-49E5363FFF1E}" srcOrd="0" destOrd="0" presId="urn:microsoft.com/office/officeart/2005/8/layout/orgChart1"/>
    <dgm:cxn modelId="{04987BF1-7D1D-479A-A782-65B93B0A5B1D}" type="presOf" srcId="{62301F5E-BDD5-4369-B9CF-5999FECA1C85}" destId="{FE10A4AF-D8A8-4F2D-9661-56E5DBB5B2C5}" srcOrd="0" destOrd="0" presId="urn:microsoft.com/office/officeart/2005/8/layout/orgChart1"/>
    <dgm:cxn modelId="{78F0398F-1807-474F-A2FD-BDBC964795D7}" type="presOf" srcId="{0B5A8C4E-0287-4775-89CD-4F33BAC9506F}" destId="{E8D3E92A-0794-4DFF-ADF5-83A9F9869BDA}" srcOrd="0" destOrd="0" presId="urn:microsoft.com/office/officeart/2005/8/layout/orgChart1"/>
    <dgm:cxn modelId="{6BA6C813-F6E6-45ED-A5D9-56C65F1804F5}" type="presOf" srcId="{843E3B21-DC9F-4CF8-A7F1-93BF704E47A7}" destId="{5E5C4910-D5C2-4117-9825-0F4E2308A1D4}" srcOrd="0" destOrd="0" presId="urn:microsoft.com/office/officeart/2005/8/layout/orgChart1"/>
    <dgm:cxn modelId="{B4DE1B68-16BB-496E-BA92-337C257AD8BE}" type="presOf" srcId="{90833815-F732-45AF-B735-7A208BE16A8A}" destId="{5D0F02D1-4A23-4B53-AF4F-3529BE69829E}" srcOrd="0" destOrd="0" presId="urn:microsoft.com/office/officeart/2005/8/layout/orgChart1"/>
    <dgm:cxn modelId="{7E8A394C-0B32-41E9-BC7B-038412EB61D4}" srcId="{E420C67E-C4C2-476B-9B47-FFB47D587009}" destId="{CFEBB133-5D80-4E9D-815E-BA7E2B5804D2}" srcOrd="3" destOrd="0" parTransId="{6C5C9B86-7AAA-465B-98FF-E3F38189A3AE}" sibTransId="{7FDECB7D-540F-4AC8-A911-0EDE43878630}"/>
    <dgm:cxn modelId="{63BD86B5-69D8-456F-BF54-385A549E55CB}" type="presOf" srcId="{359E2506-5D19-4F9C-8688-C666576175A9}" destId="{50C84909-550F-4BDC-8966-B86E5E1786AE}" srcOrd="0" destOrd="0" presId="urn:microsoft.com/office/officeart/2005/8/layout/orgChart1"/>
    <dgm:cxn modelId="{4AFDE032-256E-4C26-A9DB-1AA6B01C466B}" type="presOf" srcId="{4E25AF54-5C18-4905-8913-7D1EA2AC6905}" destId="{2BC6CEE4-3F67-4FA6-8639-65EC4CCFF4D9}" srcOrd="0" destOrd="0" presId="urn:microsoft.com/office/officeart/2005/8/layout/orgChart1"/>
    <dgm:cxn modelId="{B48A78A2-3FBC-44B6-BF0C-812A9DC18ADF}" type="presOf" srcId="{C6E107C8-C87F-4E03-9C51-3B0FC309122B}" destId="{BB23809A-293F-4A54-B283-6C2D984F118D}" srcOrd="1" destOrd="0" presId="urn:microsoft.com/office/officeart/2005/8/layout/orgChart1"/>
    <dgm:cxn modelId="{28A47330-D94A-44AC-851E-72A3307DC4FF}" type="presOf" srcId="{0216D3CF-84E5-4443-8082-6C6C297E9A4D}" destId="{CBCDE87F-FA6C-44B8-A9C2-1E747BE7F736}" srcOrd="0" destOrd="0" presId="urn:microsoft.com/office/officeart/2005/8/layout/orgChart1"/>
    <dgm:cxn modelId="{A630084D-67F8-48A7-9951-F46F3604D1B4}" srcId="{E420C67E-C4C2-476B-9B47-FFB47D587009}" destId="{90833815-F732-45AF-B735-7A208BE16A8A}" srcOrd="1" destOrd="0" parTransId="{62301F5E-BDD5-4369-B9CF-5999FECA1C85}" sibTransId="{7A88FAF5-FAAB-4848-B347-2B42AF8023FF}"/>
    <dgm:cxn modelId="{482DB792-4616-4429-8146-834A4E403FCA}" srcId="{C35FC96E-9015-4790-BDC3-6E0D4D502FCB}" destId="{AFCA2418-8D6B-4E9C-BE52-FC74C908050F}" srcOrd="0" destOrd="0" parTransId="{4E25AF54-5C18-4905-8913-7D1EA2AC6905}" sibTransId="{2863A287-FD1D-46AB-958E-D6DB7D840902}"/>
    <dgm:cxn modelId="{31BAD010-A33A-4498-9775-D09070340111}" type="presParOf" srcId="{E9F5810C-05C5-4937-8779-609DD6BD5CFD}" destId="{25A00B3E-FEA8-439F-999E-8DB6BC95DBC0}" srcOrd="0" destOrd="0" presId="urn:microsoft.com/office/officeart/2005/8/layout/orgChart1"/>
    <dgm:cxn modelId="{5D9BD316-4EC3-4C1F-8240-F36957AA15EC}" type="presParOf" srcId="{25A00B3E-FEA8-439F-999E-8DB6BC95DBC0}" destId="{305CB9B7-E4C6-453D-AC39-1DA3FA25C576}" srcOrd="0" destOrd="0" presId="urn:microsoft.com/office/officeart/2005/8/layout/orgChart1"/>
    <dgm:cxn modelId="{975E7A97-34BF-48E7-B02A-9BAFEC265E2E}" type="presParOf" srcId="{305CB9B7-E4C6-453D-AC39-1DA3FA25C576}" destId="{1AD90FEA-3135-49C2-A3C0-CFEDDC6405B3}" srcOrd="0" destOrd="0" presId="urn:microsoft.com/office/officeart/2005/8/layout/orgChart1"/>
    <dgm:cxn modelId="{75EDBA04-9DD8-4D94-8B43-3DF31A1E1A85}" type="presParOf" srcId="{305CB9B7-E4C6-453D-AC39-1DA3FA25C576}" destId="{6EF86BC6-06CE-4768-9942-F4420543D5EE}" srcOrd="1" destOrd="0" presId="urn:microsoft.com/office/officeart/2005/8/layout/orgChart1"/>
    <dgm:cxn modelId="{73D99E8F-FC3E-49E2-B331-8105E468DB6D}" type="presParOf" srcId="{25A00B3E-FEA8-439F-999E-8DB6BC95DBC0}" destId="{EC72B6B4-B63E-4FE2-8CC2-5FA221770366}" srcOrd="1" destOrd="0" presId="urn:microsoft.com/office/officeart/2005/8/layout/orgChart1"/>
    <dgm:cxn modelId="{B90301ED-576A-44F8-BCC9-E411AF38816C}" type="presParOf" srcId="{EC72B6B4-B63E-4FE2-8CC2-5FA221770366}" destId="{A3BC68A0-CABF-4126-884C-C90818E1E26E}" srcOrd="0" destOrd="0" presId="urn:microsoft.com/office/officeart/2005/8/layout/orgChart1"/>
    <dgm:cxn modelId="{CD7A7185-A5FD-4859-95E3-7A4C67C7862A}" type="presParOf" srcId="{EC72B6B4-B63E-4FE2-8CC2-5FA221770366}" destId="{9B84C5AA-6259-445A-8F7A-6D366FCBB4AD}" srcOrd="1" destOrd="0" presId="urn:microsoft.com/office/officeart/2005/8/layout/orgChart1"/>
    <dgm:cxn modelId="{9FAE2EDB-764D-41E4-A7C7-D68F532ADDF9}" type="presParOf" srcId="{9B84C5AA-6259-445A-8F7A-6D366FCBB4AD}" destId="{F324FB99-E565-440D-9319-A2867DA87756}" srcOrd="0" destOrd="0" presId="urn:microsoft.com/office/officeart/2005/8/layout/orgChart1"/>
    <dgm:cxn modelId="{1CA7EB9F-B7E0-403F-9037-FEBEF98CFC48}" type="presParOf" srcId="{F324FB99-E565-440D-9319-A2867DA87756}" destId="{5E5C4910-D5C2-4117-9825-0F4E2308A1D4}" srcOrd="0" destOrd="0" presId="urn:microsoft.com/office/officeart/2005/8/layout/orgChart1"/>
    <dgm:cxn modelId="{B19BE54F-B896-4FDC-B084-694CE404BABE}" type="presParOf" srcId="{F324FB99-E565-440D-9319-A2867DA87756}" destId="{AB22B6A5-BFAD-4E5F-BED0-C002FA69FEEF}" srcOrd="1" destOrd="0" presId="urn:microsoft.com/office/officeart/2005/8/layout/orgChart1"/>
    <dgm:cxn modelId="{1D240CF6-F2FC-492B-BC31-80AD044DA488}" type="presParOf" srcId="{9B84C5AA-6259-445A-8F7A-6D366FCBB4AD}" destId="{16186025-4BC6-46E2-97F6-F9084F02632D}" srcOrd="1" destOrd="0" presId="urn:microsoft.com/office/officeart/2005/8/layout/orgChart1"/>
    <dgm:cxn modelId="{6AE823BE-3CC6-4BB2-82A8-26804EDC302A}" type="presParOf" srcId="{16186025-4BC6-46E2-97F6-F9084F02632D}" destId="{A83ED5F7-10A0-45C9-B814-5804FA76917E}" srcOrd="0" destOrd="0" presId="urn:microsoft.com/office/officeart/2005/8/layout/orgChart1"/>
    <dgm:cxn modelId="{B758E084-938D-4DA1-86B8-8E428958D862}" type="presParOf" srcId="{16186025-4BC6-46E2-97F6-F9084F02632D}" destId="{D44CFE56-6231-4D51-BDF4-F9842887D455}" srcOrd="1" destOrd="0" presId="urn:microsoft.com/office/officeart/2005/8/layout/orgChart1"/>
    <dgm:cxn modelId="{4870DE93-439E-4D32-9241-C4E6D0E35C35}" type="presParOf" srcId="{D44CFE56-6231-4D51-BDF4-F9842887D455}" destId="{F340CB26-8421-44AC-9592-9BB7E87D96B8}" srcOrd="0" destOrd="0" presId="urn:microsoft.com/office/officeart/2005/8/layout/orgChart1"/>
    <dgm:cxn modelId="{11C65B87-3F62-45FF-9515-1CC226F74F40}" type="presParOf" srcId="{F340CB26-8421-44AC-9592-9BB7E87D96B8}" destId="{1064D61A-5C37-497D-A6F5-6312AB6E3F5A}" srcOrd="0" destOrd="0" presId="urn:microsoft.com/office/officeart/2005/8/layout/orgChart1"/>
    <dgm:cxn modelId="{55ADA901-2B7C-45E7-BBFC-C45A6EEB56BD}" type="presParOf" srcId="{F340CB26-8421-44AC-9592-9BB7E87D96B8}" destId="{1D0BA542-EABF-46D4-A11D-8954A50A4A27}" srcOrd="1" destOrd="0" presId="urn:microsoft.com/office/officeart/2005/8/layout/orgChart1"/>
    <dgm:cxn modelId="{37F95AA9-F321-42BB-86F8-391FC2E2D6CD}" type="presParOf" srcId="{D44CFE56-6231-4D51-BDF4-F9842887D455}" destId="{CB5479DD-BB83-4A7F-A8FE-0204BBEBDE57}" srcOrd="1" destOrd="0" presId="urn:microsoft.com/office/officeart/2005/8/layout/orgChart1"/>
    <dgm:cxn modelId="{7C891100-40E8-4ABF-AD1A-47DBEC24C77D}" type="presParOf" srcId="{D44CFE56-6231-4D51-BDF4-F9842887D455}" destId="{72F3B94E-5E2C-4DF9-BCD5-3D635951032C}" srcOrd="2" destOrd="0" presId="urn:microsoft.com/office/officeart/2005/8/layout/orgChart1"/>
    <dgm:cxn modelId="{4E447AC8-90EF-4057-8CED-D24E22072766}" type="presParOf" srcId="{16186025-4BC6-46E2-97F6-F9084F02632D}" destId="{A2B3E9C0-0CE1-4B88-9E71-F7CE1A7F99D7}" srcOrd="2" destOrd="0" presId="urn:microsoft.com/office/officeart/2005/8/layout/orgChart1"/>
    <dgm:cxn modelId="{53511F2D-D15F-406B-9DA5-89C156D316A0}" type="presParOf" srcId="{16186025-4BC6-46E2-97F6-F9084F02632D}" destId="{16797127-63BB-4E8C-8005-5E72B3FF9B3C}" srcOrd="3" destOrd="0" presId="urn:microsoft.com/office/officeart/2005/8/layout/orgChart1"/>
    <dgm:cxn modelId="{0B9BDAC4-F162-48F7-A90B-2DFD12E735F3}" type="presParOf" srcId="{16797127-63BB-4E8C-8005-5E72B3FF9B3C}" destId="{4DFEF789-40AF-4966-81EA-F7C1CBE52773}" srcOrd="0" destOrd="0" presId="urn:microsoft.com/office/officeart/2005/8/layout/orgChart1"/>
    <dgm:cxn modelId="{4AF69BDA-D90C-4170-A2EC-88C2E6AB40FD}" type="presParOf" srcId="{4DFEF789-40AF-4966-81EA-F7C1CBE52773}" destId="{A77E27D0-EFD7-495B-9E1A-5A5371B8AB84}" srcOrd="0" destOrd="0" presId="urn:microsoft.com/office/officeart/2005/8/layout/orgChart1"/>
    <dgm:cxn modelId="{11155DBD-E09E-4696-9F05-270B033373EF}" type="presParOf" srcId="{4DFEF789-40AF-4966-81EA-F7C1CBE52773}" destId="{63F8734B-291F-4EE9-8AEC-5D7130065FE8}" srcOrd="1" destOrd="0" presId="urn:microsoft.com/office/officeart/2005/8/layout/orgChart1"/>
    <dgm:cxn modelId="{B4A8B521-0273-4BB6-8FE8-511C7E57542B}" type="presParOf" srcId="{16797127-63BB-4E8C-8005-5E72B3FF9B3C}" destId="{F1241E53-1837-4666-9A60-B6AD42958195}" srcOrd="1" destOrd="0" presId="urn:microsoft.com/office/officeart/2005/8/layout/orgChart1"/>
    <dgm:cxn modelId="{FE925766-CCF0-4758-B926-3CF47AF9E306}" type="presParOf" srcId="{16797127-63BB-4E8C-8005-5E72B3FF9B3C}" destId="{E1079AD2-0C8E-44F0-9596-6D504E6161CE}" srcOrd="2" destOrd="0" presId="urn:microsoft.com/office/officeart/2005/8/layout/orgChart1"/>
    <dgm:cxn modelId="{7188B172-44CC-42CE-A6A9-5EFD218D775E}" type="presParOf" srcId="{16186025-4BC6-46E2-97F6-F9084F02632D}" destId="{50C84909-550F-4BDC-8966-B86E5E1786AE}" srcOrd="4" destOrd="0" presId="urn:microsoft.com/office/officeart/2005/8/layout/orgChart1"/>
    <dgm:cxn modelId="{7244C039-7816-4977-8F7D-33C6A4FEEA15}" type="presParOf" srcId="{16186025-4BC6-46E2-97F6-F9084F02632D}" destId="{EBCAC25B-3E97-4708-AA7E-0D44E4C06B2C}" srcOrd="5" destOrd="0" presId="urn:microsoft.com/office/officeart/2005/8/layout/orgChart1"/>
    <dgm:cxn modelId="{0D5F2DF4-90AB-49A6-AEFF-6DA6C8A4C4CC}" type="presParOf" srcId="{EBCAC25B-3E97-4708-AA7E-0D44E4C06B2C}" destId="{56A22D43-7DD1-46E6-B06A-D1D662EE6DAD}" srcOrd="0" destOrd="0" presId="urn:microsoft.com/office/officeart/2005/8/layout/orgChart1"/>
    <dgm:cxn modelId="{1295FBB2-5C10-45E0-B3F2-4BACEF43DDDC}" type="presParOf" srcId="{56A22D43-7DD1-46E6-B06A-D1D662EE6DAD}" destId="{984A4F3B-0A00-4E5A-9092-1922B8A7FAB3}" srcOrd="0" destOrd="0" presId="urn:microsoft.com/office/officeart/2005/8/layout/orgChart1"/>
    <dgm:cxn modelId="{F90C2E50-EDFF-4669-83F3-361FCC38655B}" type="presParOf" srcId="{56A22D43-7DD1-46E6-B06A-D1D662EE6DAD}" destId="{700B55C8-272E-490B-AB5F-A5C6369E8C79}" srcOrd="1" destOrd="0" presId="urn:microsoft.com/office/officeart/2005/8/layout/orgChart1"/>
    <dgm:cxn modelId="{5211DE59-2211-48E4-AA14-C4D9FFDE8939}" type="presParOf" srcId="{EBCAC25B-3E97-4708-AA7E-0D44E4C06B2C}" destId="{18D6C1B6-F902-4ABE-BB60-086B907C1C3A}" srcOrd="1" destOrd="0" presId="urn:microsoft.com/office/officeart/2005/8/layout/orgChart1"/>
    <dgm:cxn modelId="{A4B0A497-D804-4377-A9D6-E2BB382823F5}" type="presParOf" srcId="{EBCAC25B-3E97-4708-AA7E-0D44E4C06B2C}" destId="{4E3F742A-A2F5-4971-A026-90DA3CFE956C}" srcOrd="2" destOrd="0" presId="urn:microsoft.com/office/officeart/2005/8/layout/orgChart1"/>
    <dgm:cxn modelId="{9734C1BB-BBA2-42E7-9298-54A1D4237A54}" type="presParOf" srcId="{16186025-4BC6-46E2-97F6-F9084F02632D}" destId="{6262AD45-37CE-4E4E-81E1-98A75BFFED33}" srcOrd="6" destOrd="0" presId="urn:microsoft.com/office/officeart/2005/8/layout/orgChart1"/>
    <dgm:cxn modelId="{B6548910-BE25-49C5-8B08-B94FF083B4D7}" type="presParOf" srcId="{16186025-4BC6-46E2-97F6-F9084F02632D}" destId="{3BDA7C33-CC97-412E-A3EC-9F252E4F5A5A}" srcOrd="7" destOrd="0" presId="urn:microsoft.com/office/officeart/2005/8/layout/orgChart1"/>
    <dgm:cxn modelId="{46733444-17F7-4D34-8F69-B13A68499B42}" type="presParOf" srcId="{3BDA7C33-CC97-412E-A3EC-9F252E4F5A5A}" destId="{2723E1CD-4CEE-4F07-87CD-20B12A8FC827}" srcOrd="0" destOrd="0" presId="urn:microsoft.com/office/officeart/2005/8/layout/orgChart1"/>
    <dgm:cxn modelId="{B26DD756-5675-44FB-B2F8-1C9161870B0E}" type="presParOf" srcId="{2723E1CD-4CEE-4F07-87CD-20B12A8FC827}" destId="{E8D3E92A-0794-4DFF-ADF5-83A9F9869BDA}" srcOrd="0" destOrd="0" presId="urn:microsoft.com/office/officeart/2005/8/layout/orgChart1"/>
    <dgm:cxn modelId="{8BA1D528-4806-4BDD-8A72-368A2CA9B4E7}" type="presParOf" srcId="{2723E1CD-4CEE-4F07-87CD-20B12A8FC827}" destId="{E4F391C2-584B-4F01-9A6E-BB77AA2A997A}" srcOrd="1" destOrd="0" presId="urn:microsoft.com/office/officeart/2005/8/layout/orgChart1"/>
    <dgm:cxn modelId="{062D660F-5257-4A23-855C-521064048AAE}" type="presParOf" srcId="{3BDA7C33-CC97-412E-A3EC-9F252E4F5A5A}" destId="{B2E11ABB-6C93-42E1-91A1-DB542954BA14}" srcOrd="1" destOrd="0" presId="urn:microsoft.com/office/officeart/2005/8/layout/orgChart1"/>
    <dgm:cxn modelId="{82356C07-19A8-4633-AC9A-0AD96E5EBEDB}" type="presParOf" srcId="{3BDA7C33-CC97-412E-A3EC-9F252E4F5A5A}" destId="{7916A290-6350-41CF-9D02-42ED9408F54E}" srcOrd="2" destOrd="0" presId="urn:microsoft.com/office/officeart/2005/8/layout/orgChart1"/>
    <dgm:cxn modelId="{E3AB3E8B-396B-40F2-B859-868D7F2CE0CC}" type="presParOf" srcId="{9B84C5AA-6259-445A-8F7A-6D366FCBB4AD}" destId="{82355405-192E-42E7-B905-7A6FE845C6D9}" srcOrd="2" destOrd="0" presId="urn:microsoft.com/office/officeart/2005/8/layout/orgChart1"/>
    <dgm:cxn modelId="{3539C371-47F3-41CF-8BCF-4B3A5FCCC578}" type="presParOf" srcId="{EC72B6B4-B63E-4FE2-8CC2-5FA221770366}" destId="{96956835-3386-449C-A89B-65F7C680246D}" srcOrd="2" destOrd="0" presId="urn:microsoft.com/office/officeart/2005/8/layout/orgChart1"/>
    <dgm:cxn modelId="{005B3D8B-FD31-477C-B152-670D13A82B13}" type="presParOf" srcId="{EC72B6B4-B63E-4FE2-8CC2-5FA221770366}" destId="{DBD72DFC-EF80-4973-B6E5-D3C9AB052F9E}" srcOrd="3" destOrd="0" presId="urn:microsoft.com/office/officeart/2005/8/layout/orgChart1"/>
    <dgm:cxn modelId="{DBBACF85-8461-407E-B0B1-D48CA7285C33}" type="presParOf" srcId="{DBD72DFC-EF80-4973-B6E5-D3C9AB052F9E}" destId="{72B31F8C-4060-4D82-8D0A-8A332812C464}" srcOrd="0" destOrd="0" presId="urn:microsoft.com/office/officeart/2005/8/layout/orgChart1"/>
    <dgm:cxn modelId="{FCAA647D-4BAD-4CB8-878F-F74E0AB38845}" type="presParOf" srcId="{72B31F8C-4060-4D82-8D0A-8A332812C464}" destId="{F0ED6141-24DB-4164-A2D4-B51E750525CD}" srcOrd="0" destOrd="0" presId="urn:microsoft.com/office/officeart/2005/8/layout/orgChart1"/>
    <dgm:cxn modelId="{62751095-4F10-48CA-AC49-B64BF25EC08D}" type="presParOf" srcId="{72B31F8C-4060-4D82-8D0A-8A332812C464}" destId="{45256018-C335-4CDB-9EC5-7AE2ABAC1E00}" srcOrd="1" destOrd="0" presId="urn:microsoft.com/office/officeart/2005/8/layout/orgChart1"/>
    <dgm:cxn modelId="{F3084F32-987C-4C75-8B52-E71A68BEA5D5}" type="presParOf" srcId="{DBD72DFC-EF80-4973-B6E5-D3C9AB052F9E}" destId="{2A7D3334-4741-4667-BCDB-1A78491B4FD4}" srcOrd="1" destOrd="0" presId="urn:microsoft.com/office/officeart/2005/8/layout/orgChart1"/>
    <dgm:cxn modelId="{9CA657CA-CBD6-4294-B99A-9AE0D3ABD2C0}" type="presParOf" srcId="{2A7D3334-4741-4667-BCDB-1A78491B4FD4}" destId="{CC07306D-4BD7-4477-BB61-A954489058D6}" srcOrd="0" destOrd="0" presId="urn:microsoft.com/office/officeart/2005/8/layout/orgChart1"/>
    <dgm:cxn modelId="{F159607D-01BF-4F16-85F3-FE908ECB25EF}" type="presParOf" srcId="{2A7D3334-4741-4667-BCDB-1A78491B4FD4}" destId="{0ECB6EE9-64D7-46FB-8A0A-B83CD370F0B4}" srcOrd="1" destOrd="0" presId="urn:microsoft.com/office/officeart/2005/8/layout/orgChart1"/>
    <dgm:cxn modelId="{8887F17C-57A3-4902-91B0-FC09D4B370B1}" type="presParOf" srcId="{0ECB6EE9-64D7-46FB-8A0A-B83CD370F0B4}" destId="{9D96850F-E3A0-4435-B942-5F48B18AC5F4}" srcOrd="0" destOrd="0" presId="urn:microsoft.com/office/officeart/2005/8/layout/orgChart1"/>
    <dgm:cxn modelId="{90B44397-92E5-4DDE-AC63-9D5C23A03B75}" type="presParOf" srcId="{9D96850F-E3A0-4435-B942-5F48B18AC5F4}" destId="{CBCDE87F-FA6C-44B8-A9C2-1E747BE7F736}" srcOrd="0" destOrd="0" presId="urn:microsoft.com/office/officeart/2005/8/layout/orgChart1"/>
    <dgm:cxn modelId="{5A22A847-9A17-4DD6-A331-D924909913BA}" type="presParOf" srcId="{9D96850F-E3A0-4435-B942-5F48B18AC5F4}" destId="{CF9F174C-7D69-49F6-A7FE-7ED9990EB82A}" srcOrd="1" destOrd="0" presId="urn:microsoft.com/office/officeart/2005/8/layout/orgChart1"/>
    <dgm:cxn modelId="{86397D6A-D014-4102-9035-3D7EC8F86909}" type="presParOf" srcId="{0ECB6EE9-64D7-46FB-8A0A-B83CD370F0B4}" destId="{1934090D-CBAE-4AB8-9BE7-C9762145998D}" srcOrd="1" destOrd="0" presId="urn:microsoft.com/office/officeart/2005/8/layout/orgChart1"/>
    <dgm:cxn modelId="{1811D88C-E357-4216-A962-13E3EDEF5237}" type="presParOf" srcId="{0ECB6EE9-64D7-46FB-8A0A-B83CD370F0B4}" destId="{7BCCCAFF-8404-460B-9A5A-B8BF91057993}" srcOrd="2" destOrd="0" presId="urn:microsoft.com/office/officeart/2005/8/layout/orgChart1"/>
    <dgm:cxn modelId="{61386D43-1316-4ADE-95C8-FF74C2F2B970}" type="presParOf" srcId="{2A7D3334-4741-4667-BCDB-1A78491B4FD4}" destId="{FE10A4AF-D8A8-4F2D-9661-56E5DBB5B2C5}" srcOrd="2" destOrd="0" presId="urn:microsoft.com/office/officeart/2005/8/layout/orgChart1"/>
    <dgm:cxn modelId="{AE576732-AD55-4D2D-B53B-8136AADC240B}" type="presParOf" srcId="{2A7D3334-4741-4667-BCDB-1A78491B4FD4}" destId="{6E36B90A-357D-4409-934D-6F40EC568AE0}" srcOrd="3" destOrd="0" presId="urn:microsoft.com/office/officeart/2005/8/layout/orgChart1"/>
    <dgm:cxn modelId="{9A8B2307-1758-48AC-95B4-C2A2CBE67190}" type="presParOf" srcId="{6E36B90A-357D-4409-934D-6F40EC568AE0}" destId="{AB55976F-0A75-48BF-8621-9232364F260E}" srcOrd="0" destOrd="0" presId="urn:microsoft.com/office/officeart/2005/8/layout/orgChart1"/>
    <dgm:cxn modelId="{F655C7E1-24CB-4CD3-B0E1-A2FEE49628D0}" type="presParOf" srcId="{AB55976F-0A75-48BF-8621-9232364F260E}" destId="{5D0F02D1-4A23-4B53-AF4F-3529BE69829E}" srcOrd="0" destOrd="0" presId="urn:microsoft.com/office/officeart/2005/8/layout/orgChart1"/>
    <dgm:cxn modelId="{B6BEF47B-A34D-4F4D-9B15-7EDE589E07EF}" type="presParOf" srcId="{AB55976F-0A75-48BF-8621-9232364F260E}" destId="{8FF15CAA-9BF1-4437-B877-2B6831555847}" srcOrd="1" destOrd="0" presId="urn:microsoft.com/office/officeart/2005/8/layout/orgChart1"/>
    <dgm:cxn modelId="{D0097F6F-C05C-491B-9C90-E68661CA03B6}" type="presParOf" srcId="{6E36B90A-357D-4409-934D-6F40EC568AE0}" destId="{8EE5665B-F21D-4DA6-A444-6C77DD3C6F95}" srcOrd="1" destOrd="0" presId="urn:microsoft.com/office/officeart/2005/8/layout/orgChart1"/>
    <dgm:cxn modelId="{CC483680-A9A2-4BD5-B35B-77D0F805CB98}" type="presParOf" srcId="{6E36B90A-357D-4409-934D-6F40EC568AE0}" destId="{F1F43870-C4AC-4AF4-AB05-6A054FC06D63}" srcOrd="2" destOrd="0" presId="urn:microsoft.com/office/officeart/2005/8/layout/orgChart1"/>
    <dgm:cxn modelId="{94C9DD00-183E-4088-AC64-8D0805DBBEE9}" type="presParOf" srcId="{2A7D3334-4741-4667-BCDB-1A78491B4FD4}" destId="{1D4D3FE4-1739-4B3C-ACD2-597D18FBC50F}" srcOrd="4" destOrd="0" presId="urn:microsoft.com/office/officeart/2005/8/layout/orgChart1"/>
    <dgm:cxn modelId="{2E2A04BE-D3E1-4AD2-9AC5-9EDC16B5274C}" type="presParOf" srcId="{2A7D3334-4741-4667-BCDB-1A78491B4FD4}" destId="{9115B6B6-EA79-4FE0-843B-D82CDE234246}" srcOrd="5" destOrd="0" presId="urn:microsoft.com/office/officeart/2005/8/layout/orgChart1"/>
    <dgm:cxn modelId="{0E41A0E9-6E66-4A32-8A7A-A3B138173512}" type="presParOf" srcId="{9115B6B6-EA79-4FE0-843B-D82CDE234246}" destId="{B54B6D9A-0CB7-42FF-A0FD-F2137F2080D7}" srcOrd="0" destOrd="0" presId="urn:microsoft.com/office/officeart/2005/8/layout/orgChart1"/>
    <dgm:cxn modelId="{C0F62B06-95FE-4FD3-A3EF-1099FAA06405}" type="presParOf" srcId="{B54B6D9A-0CB7-42FF-A0FD-F2137F2080D7}" destId="{7BABB840-5689-4566-85C9-55C4A127C4C6}" srcOrd="0" destOrd="0" presId="urn:microsoft.com/office/officeart/2005/8/layout/orgChart1"/>
    <dgm:cxn modelId="{966072D7-B54E-496C-B039-2F915A2C3723}" type="presParOf" srcId="{B54B6D9A-0CB7-42FF-A0FD-F2137F2080D7}" destId="{C3C99CCA-0A47-4420-ABC8-53654C0C3796}" srcOrd="1" destOrd="0" presId="urn:microsoft.com/office/officeart/2005/8/layout/orgChart1"/>
    <dgm:cxn modelId="{CF503ECA-9329-4946-B383-11AEAB68B917}" type="presParOf" srcId="{9115B6B6-EA79-4FE0-843B-D82CDE234246}" destId="{0D889D42-77FB-49A7-B6E8-3A8C670AFEAD}" srcOrd="1" destOrd="0" presId="urn:microsoft.com/office/officeart/2005/8/layout/orgChart1"/>
    <dgm:cxn modelId="{71E954A6-B925-4561-BADC-06BEB70725C1}" type="presParOf" srcId="{9115B6B6-EA79-4FE0-843B-D82CDE234246}" destId="{6BE4F57E-EC21-4523-B1EB-3AEDD24C4D44}" srcOrd="2" destOrd="0" presId="urn:microsoft.com/office/officeart/2005/8/layout/orgChart1"/>
    <dgm:cxn modelId="{87ACF83D-28F1-45B6-ADB5-7CED2A1839C6}" type="presParOf" srcId="{2A7D3334-4741-4667-BCDB-1A78491B4FD4}" destId="{3A94D9E8-C2A3-4765-9477-D710CC646957}" srcOrd="6" destOrd="0" presId="urn:microsoft.com/office/officeart/2005/8/layout/orgChart1"/>
    <dgm:cxn modelId="{5DD87B47-96F1-4987-8D88-EAF7A023E673}" type="presParOf" srcId="{2A7D3334-4741-4667-BCDB-1A78491B4FD4}" destId="{2EAD44A1-134B-439B-87EC-257234921AE5}" srcOrd="7" destOrd="0" presId="urn:microsoft.com/office/officeart/2005/8/layout/orgChart1"/>
    <dgm:cxn modelId="{875E36F7-C6D4-4A21-BE1B-6BEF3A77AE24}" type="presParOf" srcId="{2EAD44A1-134B-439B-87EC-257234921AE5}" destId="{2FB73BF3-3C5D-4AD3-9D1C-8A589100FCB7}" srcOrd="0" destOrd="0" presId="urn:microsoft.com/office/officeart/2005/8/layout/orgChart1"/>
    <dgm:cxn modelId="{36E528EF-7493-4AE1-88C7-387AD92ABDD9}" type="presParOf" srcId="{2FB73BF3-3C5D-4AD3-9D1C-8A589100FCB7}" destId="{50D60845-A14B-4DD0-8DB4-8B07FEB31A21}" srcOrd="0" destOrd="0" presId="urn:microsoft.com/office/officeart/2005/8/layout/orgChart1"/>
    <dgm:cxn modelId="{CCD66564-7C29-4627-8BC1-CCC7BBFC4D29}" type="presParOf" srcId="{2FB73BF3-3C5D-4AD3-9D1C-8A589100FCB7}" destId="{F55C39B9-C17D-4782-B68D-D9F73AAEE095}" srcOrd="1" destOrd="0" presId="urn:microsoft.com/office/officeart/2005/8/layout/orgChart1"/>
    <dgm:cxn modelId="{9B095A31-4F21-4EEE-8D51-1B829115A851}" type="presParOf" srcId="{2EAD44A1-134B-439B-87EC-257234921AE5}" destId="{FE161E8F-9C2C-4330-91D6-9E6A7C6F19FB}" srcOrd="1" destOrd="0" presId="urn:microsoft.com/office/officeart/2005/8/layout/orgChart1"/>
    <dgm:cxn modelId="{30933D8A-FB43-49B2-83A1-E1D09F9EDBAD}" type="presParOf" srcId="{2EAD44A1-134B-439B-87EC-257234921AE5}" destId="{DCFA5C64-38E4-453B-BB1F-AE8ADB7F8B50}" srcOrd="2" destOrd="0" presId="urn:microsoft.com/office/officeart/2005/8/layout/orgChart1"/>
    <dgm:cxn modelId="{6F642333-ECCA-4466-A540-7F2C9C5925D6}" type="presParOf" srcId="{2A7D3334-4741-4667-BCDB-1A78491B4FD4}" destId="{6240857E-8E92-4FD3-BB54-32F6C167CD09}" srcOrd="8" destOrd="0" presId="urn:microsoft.com/office/officeart/2005/8/layout/orgChart1"/>
    <dgm:cxn modelId="{66B0635C-8A2B-40C6-A3A1-2A15EA65950C}" type="presParOf" srcId="{2A7D3334-4741-4667-BCDB-1A78491B4FD4}" destId="{15B9C00A-6A73-4158-81BD-1F7308096CC8}" srcOrd="9" destOrd="0" presId="urn:microsoft.com/office/officeart/2005/8/layout/orgChart1"/>
    <dgm:cxn modelId="{CBC08E76-AF7D-4E79-B207-E397E15B15AE}" type="presParOf" srcId="{15B9C00A-6A73-4158-81BD-1F7308096CC8}" destId="{0B45F736-1A0E-4A7B-A649-FBC58E1CBB7D}" srcOrd="0" destOrd="0" presId="urn:microsoft.com/office/officeart/2005/8/layout/orgChart1"/>
    <dgm:cxn modelId="{F4BA766F-EF85-4955-92E0-068D8F8DFE15}" type="presParOf" srcId="{0B45F736-1A0E-4A7B-A649-FBC58E1CBB7D}" destId="{BD1C35E1-9751-4DD4-B9AF-1CFE8C8B4E70}" srcOrd="0" destOrd="0" presId="urn:microsoft.com/office/officeart/2005/8/layout/orgChart1"/>
    <dgm:cxn modelId="{3A7CC29A-2F27-42B1-9807-02BC7D01874C}" type="presParOf" srcId="{0B45F736-1A0E-4A7B-A649-FBC58E1CBB7D}" destId="{E9D97F7E-F6E2-4876-9CCF-33FF7FB7A306}" srcOrd="1" destOrd="0" presId="urn:microsoft.com/office/officeart/2005/8/layout/orgChart1"/>
    <dgm:cxn modelId="{C999DBAA-7851-42E2-8973-2A7CA844E1A0}" type="presParOf" srcId="{15B9C00A-6A73-4158-81BD-1F7308096CC8}" destId="{29CC4417-FD35-462A-AB7F-4A305202200E}" srcOrd="1" destOrd="0" presId="urn:microsoft.com/office/officeart/2005/8/layout/orgChart1"/>
    <dgm:cxn modelId="{A1D7BE47-3037-4D66-8AF3-DCD9D97A3115}" type="presParOf" srcId="{15B9C00A-6A73-4158-81BD-1F7308096CC8}" destId="{9EF0C1A1-B522-4DAB-AD15-507C0F3FBD56}" srcOrd="2" destOrd="0" presId="urn:microsoft.com/office/officeart/2005/8/layout/orgChart1"/>
    <dgm:cxn modelId="{D0A26991-0FCF-4627-8F98-89EB6554567A}" type="presParOf" srcId="{DBD72DFC-EF80-4973-B6E5-D3C9AB052F9E}" destId="{1DBB8D6B-1EA9-448A-B87B-A162873E7B21}" srcOrd="2" destOrd="0" presId="urn:microsoft.com/office/officeart/2005/8/layout/orgChart1"/>
    <dgm:cxn modelId="{6E8CD669-2975-4631-9DF5-EA7AF18D4A95}" type="presParOf" srcId="{EC72B6B4-B63E-4FE2-8CC2-5FA221770366}" destId="{C137CAE9-66E1-459B-A733-9B53B02E07AF}" srcOrd="4" destOrd="0" presId="urn:microsoft.com/office/officeart/2005/8/layout/orgChart1"/>
    <dgm:cxn modelId="{EE4780DE-06B4-46A6-8228-205810A23E61}" type="presParOf" srcId="{EC72B6B4-B63E-4FE2-8CC2-5FA221770366}" destId="{35CBA655-D40F-4A2B-B71A-711D392B5A84}" srcOrd="5" destOrd="0" presId="urn:microsoft.com/office/officeart/2005/8/layout/orgChart1"/>
    <dgm:cxn modelId="{772C3932-B3C6-4D3E-A014-146CC4B3F5B7}" type="presParOf" srcId="{35CBA655-D40F-4A2B-B71A-711D392B5A84}" destId="{9DC86AED-B6DB-4100-9EA0-4E60FFB4A367}" srcOrd="0" destOrd="0" presId="urn:microsoft.com/office/officeart/2005/8/layout/orgChart1"/>
    <dgm:cxn modelId="{1DCED07E-B4E3-4283-9D29-59E7E0EE4A2F}" type="presParOf" srcId="{9DC86AED-B6DB-4100-9EA0-4E60FFB4A367}" destId="{A5F2589C-C16C-45F2-9A3D-F2A6CB2476D1}" srcOrd="0" destOrd="0" presId="urn:microsoft.com/office/officeart/2005/8/layout/orgChart1"/>
    <dgm:cxn modelId="{A157F3D0-583B-4376-8F38-D64C5AF6FCC9}" type="presParOf" srcId="{9DC86AED-B6DB-4100-9EA0-4E60FFB4A367}" destId="{6D7B6648-0B7F-4E1F-B6C5-CE0E2F04B9FF}" srcOrd="1" destOrd="0" presId="urn:microsoft.com/office/officeart/2005/8/layout/orgChart1"/>
    <dgm:cxn modelId="{8C414CFB-B6C8-42BA-9B88-AD122497A098}" type="presParOf" srcId="{35CBA655-D40F-4A2B-B71A-711D392B5A84}" destId="{29CE8073-D253-4588-B954-7167D33B1947}" srcOrd="1" destOrd="0" presId="urn:microsoft.com/office/officeart/2005/8/layout/orgChart1"/>
    <dgm:cxn modelId="{B5A5D953-67CA-432A-BB3E-2F665F0AA40B}" type="presParOf" srcId="{29CE8073-D253-4588-B954-7167D33B1947}" destId="{AEDC7120-FE6F-49D8-95F2-AB1B2B6AC9A8}" srcOrd="0" destOrd="0" presId="urn:microsoft.com/office/officeart/2005/8/layout/orgChart1"/>
    <dgm:cxn modelId="{1C6EEF71-B434-4BCD-80B3-79DF4674854E}" type="presParOf" srcId="{29CE8073-D253-4588-B954-7167D33B1947}" destId="{F65159AB-B6AE-4C58-BE85-DB4966F15FBA}" srcOrd="1" destOrd="0" presId="urn:microsoft.com/office/officeart/2005/8/layout/orgChart1"/>
    <dgm:cxn modelId="{35F8BA7F-C1E2-4764-AF5B-B98FE1BD5307}" type="presParOf" srcId="{F65159AB-B6AE-4C58-BE85-DB4966F15FBA}" destId="{4413A7CD-B07B-4481-95F7-63264BEB8326}" srcOrd="0" destOrd="0" presId="urn:microsoft.com/office/officeart/2005/8/layout/orgChart1"/>
    <dgm:cxn modelId="{E79A97E4-D17E-44AA-A0AE-30F2C6E51FEA}" type="presParOf" srcId="{4413A7CD-B07B-4481-95F7-63264BEB8326}" destId="{6E033C69-6BA8-4812-AE4E-0022A986E944}" srcOrd="0" destOrd="0" presId="urn:microsoft.com/office/officeart/2005/8/layout/orgChart1"/>
    <dgm:cxn modelId="{E7360EA8-6C1F-45E2-BA42-076E2F9F5FA2}" type="presParOf" srcId="{4413A7CD-B07B-4481-95F7-63264BEB8326}" destId="{20C564F4-BF5C-4321-B86B-65391CEDEFC7}" srcOrd="1" destOrd="0" presId="urn:microsoft.com/office/officeart/2005/8/layout/orgChart1"/>
    <dgm:cxn modelId="{099BAC76-FE6C-40D1-ABBF-49904CE6959A}" type="presParOf" srcId="{F65159AB-B6AE-4C58-BE85-DB4966F15FBA}" destId="{7C0A51FE-5187-4FBA-A9F6-DFFAA1B3DD3E}" srcOrd="1" destOrd="0" presId="urn:microsoft.com/office/officeart/2005/8/layout/orgChart1"/>
    <dgm:cxn modelId="{287D830F-DAE3-4558-B831-1B25E68EA9EF}" type="presParOf" srcId="{F65159AB-B6AE-4C58-BE85-DB4966F15FBA}" destId="{A5F1F6CB-B812-4FEA-ACD0-E838992C8274}" srcOrd="2" destOrd="0" presId="urn:microsoft.com/office/officeart/2005/8/layout/orgChart1"/>
    <dgm:cxn modelId="{0C85C21D-C0A8-419B-AFB0-EBC1F1F4C165}" type="presParOf" srcId="{29CE8073-D253-4588-B954-7167D33B1947}" destId="{28E82B1A-B1F2-4CC5-9B64-B60015CBF624}" srcOrd="2" destOrd="0" presId="urn:microsoft.com/office/officeart/2005/8/layout/orgChart1"/>
    <dgm:cxn modelId="{680D5AEC-48CC-4C06-88AC-7D331C111EC6}" type="presParOf" srcId="{29CE8073-D253-4588-B954-7167D33B1947}" destId="{B22DAA2B-22C5-4EFA-A0A6-9AD0235D2103}" srcOrd="3" destOrd="0" presId="urn:microsoft.com/office/officeart/2005/8/layout/orgChart1"/>
    <dgm:cxn modelId="{76F2909B-38C3-4DE9-9361-B91FC19D4C42}" type="presParOf" srcId="{B22DAA2B-22C5-4EFA-A0A6-9AD0235D2103}" destId="{514CA667-AA27-4D37-9311-1D5D85EF643D}" srcOrd="0" destOrd="0" presId="urn:microsoft.com/office/officeart/2005/8/layout/orgChart1"/>
    <dgm:cxn modelId="{B340E30B-514D-463E-84EB-9D86E6389739}" type="presParOf" srcId="{514CA667-AA27-4D37-9311-1D5D85EF643D}" destId="{428A54D9-43F6-47B6-B3A2-FDCE09CB5A97}" srcOrd="0" destOrd="0" presId="urn:microsoft.com/office/officeart/2005/8/layout/orgChart1"/>
    <dgm:cxn modelId="{E4CFD891-F7AC-4052-8A53-0E62EE94D6BE}" type="presParOf" srcId="{514CA667-AA27-4D37-9311-1D5D85EF643D}" destId="{31DAB6FE-4097-4695-9397-7DCCE262634B}" srcOrd="1" destOrd="0" presId="urn:microsoft.com/office/officeart/2005/8/layout/orgChart1"/>
    <dgm:cxn modelId="{E74C2F3B-FD18-46CF-82C4-FE666772FFF1}" type="presParOf" srcId="{B22DAA2B-22C5-4EFA-A0A6-9AD0235D2103}" destId="{F4CC167B-F2F2-455C-9A45-823F18AFEF9A}" srcOrd="1" destOrd="0" presId="urn:microsoft.com/office/officeart/2005/8/layout/orgChart1"/>
    <dgm:cxn modelId="{F0776DCB-77C6-48F4-AC52-1F835353A65E}" type="presParOf" srcId="{B22DAA2B-22C5-4EFA-A0A6-9AD0235D2103}" destId="{A5D0575B-48E0-4A98-88E8-8B4961A6F762}" srcOrd="2" destOrd="0" presId="urn:microsoft.com/office/officeart/2005/8/layout/orgChart1"/>
    <dgm:cxn modelId="{854C3EC8-74EF-43A7-A5F8-A0C88EB8A72A}" type="presParOf" srcId="{29CE8073-D253-4588-B954-7167D33B1947}" destId="{11628582-088E-42FA-B6EC-953F652565B0}" srcOrd="4" destOrd="0" presId="urn:microsoft.com/office/officeart/2005/8/layout/orgChart1"/>
    <dgm:cxn modelId="{1F24C3C1-808A-4904-9DAB-29083D46C0FB}" type="presParOf" srcId="{29CE8073-D253-4588-B954-7167D33B1947}" destId="{7E6CA653-D7FD-4B20-AE44-C1F44E30C01B}" srcOrd="5" destOrd="0" presId="urn:microsoft.com/office/officeart/2005/8/layout/orgChart1"/>
    <dgm:cxn modelId="{A46BDFF3-A939-4574-89F0-57AAC0FF362A}" type="presParOf" srcId="{7E6CA653-D7FD-4B20-AE44-C1F44E30C01B}" destId="{E179F35A-A640-480A-9C40-3D39813B5DA3}" srcOrd="0" destOrd="0" presId="urn:microsoft.com/office/officeart/2005/8/layout/orgChart1"/>
    <dgm:cxn modelId="{218CE3A8-C902-4931-B197-82BE7387B9A2}" type="presParOf" srcId="{E179F35A-A640-480A-9C40-3D39813B5DA3}" destId="{93507A0E-B606-4F7A-9C01-283769128FF2}" srcOrd="0" destOrd="0" presId="urn:microsoft.com/office/officeart/2005/8/layout/orgChart1"/>
    <dgm:cxn modelId="{040738CB-2B48-4BA3-B780-BCBABB549A4A}" type="presParOf" srcId="{E179F35A-A640-480A-9C40-3D39813B5DA3}" destId="{FA7ED8CE-14CF-4D38-BE63-D19E93618025}" srcOrd="1" destOrd="0" presId="urn:microsoft.com/office/officeart/2005/8/layout/orgChart1"/>
    <dgm:cxn modelId="{9D73CD60-67C7-455A-988E-244005E45727}" type="presParOf" srcId="{7E6CA653-D7FD-4B20-AE44-C1F44E30C01B}" destId="{D06BFE77-47E2-4E99-9240-F26F88BFBEAB}" srcOrd="1" destOrd="0" presId="urn:microsoft.com/office/officeart/2005/8/layout/orgChart1"/>
    <dgm:cxn modelId="{BDF5ED54-78E6-4F9A-9C77-046FDE7C4EA5}" type="presParOf" srcId="{7E6CA653-D7FD-4B20-AE44-C1F44E30C01B}" destId="{801CA00E-B2B0-4EC5-9889-E9E28C332373}" srcOrd="2" destOrd="0" presId="urn:microsoft.com/office/officeart/2005/8/layout/orgChart1"/>
    <dgm:cxn modelId="{CB3F4932-D02A-4824-8DDA-A5E51BAD521C}" type="presParOf" srcId="{35CBA655-D40F-4A2B-B71A-711D392B5A84}" destId="{528156B2-647C-44D5-ABAD-EBDCDF85B348}" srcOrd="2" destOrd="0" presId="urn:microsoft.com/office/officeart/2005/8/layout/orgChart1"/>
    <dgm:cxn modelId="{85281EA3-A70A-4701-AE3B-FB717DD028C4}" type="presParOf" srcId="{EC72B6B4-B63E-4FE2-8CC2-5FA221770366}" destId="{B562ECC0-9994-4B01-9E77-D5C13C496118}" srcOrd="6" destOrd="0" presId="urn:microsoft.com/office/officeart/2005/8/layout/orgChart1"/>
    <dgm:cxn modelId="{18EAE21E-B6AC-4899-B597-7D3E17000635}" type="presParOf" srcId="{EC72B6B4-B63E-4FE2-8CC2-5FA221770366}" destId="{E18799E9-9DA7-423F-B7B3-369EFE76B3B6}" srcOrd="7" destOrd="0" presId="urn:microsoft.com/office/officeart/2005/8/layout/orgChart1"/>
    <dgm:cxn modelId="{B5FAA81E-B5FB-46E4-A9BE-7AC17C14DDBA}" type="presParOf" srcId="{E18799E9-9DA7-423F-B7B3-369EFE76B3B6}" destId="{354F8417-6C70-4131-8450-E52EDD2EFA17}" srcOrd="0" destOrd="0" presId="urn:microsoft.com/office/officeart/2005/8/layout/orgChart1"/>
    <dgm:cxn modelId="{A1227B34-E76D-4227-81FD-92A65A5784E4}" type="presParOf" srcId="{354F8417-6C70-4131-8450-E52EDD2EFA17}" destId="{67A44139-B3F0-4118-89E8-A44A0D503C36}" srcOrd="0" destOrd="0" presId="urn:microsoft.com/office/officeart/2005/8/layout/orgChart1"/>
    <dgm:cxn modelId="{A7A6E943-3158-4271-ADF7-96991F9F6096}" type="presParOf" srcId="{354F8417-6C70-4131-8450-E52EDD2EFA17}" destId="{B2267437-59D9-4F70-9854-AF295901641A}" srcOrd="1" destOrd="0" presId="urn:microsoft.com/office/officeart/2005/8/layout/orgChart1"/>
    <dgm:cxn modelId="{9848FE6E-C0BC-41C3-9606-80AA572E404C}" type="presParOf" srcId="{E18799E9-9DA7-423F-B7B3-369EFE76B3B6}" destId="{A6AF8EE9-DBFC-447B-8940-E76A065FD97B}" srcOrd="1" destOrd="0" presId="urn:microsoft.com/office/officeart/2005/8/layout/orgChart1"/>
    <dgm:cxn modelId="{6059B023-26BB-4623-A744-5FC1B2954105}" type="presParOf" srcId="{A6AF8EE9-DBFC-447B-8940-E76A065FD97B}" destId="{2BC6CEE4-3F67-4FA6-8639-65EC4CCFF4D9}" srcOrd="0" destOrd="0" presId="urn:microsoft.com/office/officeart/2005/8/layout/orgChart1"/>
    <dgm:cxn modelId="{F8E30964-FE27-4622-A880-1FE0AA6E137A}" type="presParOf" srcId="{A6AF8EE9-DBFC-447B-8940-E76A065FD97B}" destId="{56EAD692-CF12-4F08-9E91-48B2A708FB71}" srcOrd="1" destOrd="0" presId="urn:microsoft.com/office/officeart/2005/8/layout/orgChart1"/>
    <dgm:cxn modelId="{3E22A690-5F0E-4C7A-B17B-147E696F0602}" type="presParOf" srcId="{56EAD692-CF12-4F08-9E91-48B2A708FB71}" destId="{17485795-B1F1-44AB-A6F9-533EF86E010F}" srcOrd="0" destOrd="0" presId="urn:microsoft.com/office/officeart/2005/8/layout/orgChart1"/>
    <dgm:cxn modelId="{B5CFCCE1-4784-469E-81FD-8CADB9730C2D}" type="presParOf" srcId="{17485795-B1F1-44AB-A6F9-533EF86E010F}" destId="{1B4F947A-69EB-46FF-A1EA-7664283D213E}" srcOrd="0" destOrd="0" presId="urn:microsoft.com/office/officeart/2005/8/layout/orgChart1"/>
    <dgm:cxn modelId="{BAED05E8-450F-437E-BA59-DE02B908FAB3}" type="presParOf" srcId="{17485795-B1F1-44AB-A6F9-533EF86E010F}" destId="{C553D0C6-AEE4-4F65-8DAC-62449D94D6A7}" srcOrd="1" destOrd="0" presId="urn:microsoft.com/office/officeart/2005/8/layout/orgChart1"/>
    <dgm:cxn modelId="{64C334B1-E0C4-4119-B3A4-12D15A1D89B1}" type="presParOf" srcId="{56EAD692-CF12-4F08-9E91-48B2A708FB71}" destId="{704B6FE3-1A93-464C-BD7D-26786EA03069}" srcOrd="1" destOrd="0" presId="urn:microsoft.com/office/officeart/2005/8/layout/orgChart1"/>
    <dgm:cxn modelId="{0CB41DCC-FDE7-4D33-B015-AA64CF79AD02}" type="presParOf" srcId="{56EAD692-CF12-4F08-9E91-48B2A708FB71}" destId="{DA9CB0A7-0D84-4FCC-8CAA-C663566F179D}" srcOrd="2" destOrd="0" presId="urn:microsoft.com/office/officeart/2005/8/layout/orgChart1"/>
    <dgm:cxn modelId="{D7A669C3-7869-485C-A821-B00A24C7653D}" type="presParOf" srcId="{A6AF8EE9-DBFC-447B-8940-E76A065FD97B}" destId="{981682D2-6375-4500-994F-C7CC83594561}" srcOrd="2" destOrd="0" presId="urn:microsoft.com/office/officeart/2005/8/layout/orgChart1"/>
    <dgm:cxn modelId="{A8F22E7E-47FD-4718-937D-2A91FA4ADCFE}" type="presParOf" srcId="{A6AF8EE9-DBFC-447B-8940-E76A065FD97B}" destId="{5AD24796-DC78-4C67-B9F3-06DC4CB79087}" srcOrd="3" destOrd="0" presId="urn:microsoft.com/office/officeart/2005/8/layout/orgChart1"/>
    <dgm:cxn modelId="{9961CE22-9918-4409-A468-E83EAE1BB5CF}" type="presParOf" srcId="{5AD24796-DC78-4C67-B9F3-06DC4CB79087}" destId="{0E2F19BE-3966-4520-8470-5F47706807ED}" srcOrd="0" destOrd="0" presId="urn:microsoft.com/office/officeart/2005/8/layout/orgChart1"/>
    <dgm:cxn modelId="{7A2710DB-3F74-4ED6-B612-92D286440E93}" type="presParOf" srcId="{0E2F19BE-3966-4520-8470-5F47706807ED}" destId="{78B1DB83-1FBB-4B72-AADA-6CBB1DAEF356}" srcOrd="0" destOrd="0" presId="urn:microsoft.com/office/officeart/2005/8/layout/orgChart1"/>
    <dgm:cxn modelId="{CA56E5F8-17F2-4A11-910A-D8EC64260FE3}" type="presParOf" srcId="{0E2F19BE-3966-4520-8470-5F47706807ED}" destId="{BB23809A-293F-4A54-B283-6C2D984F118D}" srcOrd="1" destOrd="0" presId="urn:microsoft.com/office/officeart/2005/8/layout/orgChart1"/>
    <dgm:cxn modelId="{976B4B23-5A47-4076-A09C-701B55119789}" type="presParOf" srcId="{5AD24796-DC78-4C67-B9F3-06DC4CB79087}" destId="{9F248D76-C2BC-4060-8C04-B530C444F409}" srcOrd="1" destOrd="0" presId="urn:microsoft.com/office/officeart/2005/8/layout/orgChart1"/>
    <dgm:cxn modelId="{5F17597A-99DE-4995-92F6-5CA57A34E5D0}" type="presParOf" srcId="{9F248D76-C2BC-4060-8C04-B530C444F409}" destId="{AD70828E-DDD4-480C-BDFF-1E596F6615D1}" srcOrd="0" destOrd="0" presId="urn:microsoft.com/office/officeart/2005/8/layout/orgChart1"/>
    <dgm:cxn modelId="{CB3158BC-EE1E-4C30-84FF-7D0649F05981}" type="presParOf" srcId="{9F248D76-C2BC-4060-8C04-B530C444F409}" destId="{147EF30B-BA3D-4473-9AD2-CC7014F27C11}" srcOrd="1" destOrd="0" presId="urn:microsoft.com/office/officeart/2005/8/layout/orgChart1"/>
    <dgm:cxn modelId="{19970423-4A43-464D-BFEA-5579E6A42D33}" type="presParOf" srcId="{147EF30B-BA3D-4473-9AD2-CC7014F27C11}" destId="{77306BB1-6CDB-40C5-85B1-4980890A9206}" srcOrd="0" destOrd="0" presId="urn:microsoft.com/office/officeart/2005/8/layout/orgChart1"/>
    <dgm:cxn modelId="{E02FAEC7-7EE6-4B9D-BED0-A168861ABC6D}" type="presParOf" srcId="{77306BB1-6CDB-40C5-85B1-4980890A9206}" destId="{43C79B55-7800-4403-B3B4-49E5363FFF1E}" srcOrd="0" destOrd="0" presId="urn:microsoft.com/office/officeart/2005/8/layout/orgChart1"/>
    <dgm:cxn modelId="{5F1E172B-4AC4-4D9B-86E7-35504DEE18C1}" type="presParOf" srcId="{77306BB1-6CDB-40C5-85B1-4980890A9206}" destId="{FD009694-C9A9-4545-B9B4-AE343C4C6314}" srcOrd="1" destOrd="0" presId="urn:microsoft.com/office/officeart/2005/8/layout/orgChart1"/>
    <dgm:cxn modelId="{0C088022-7545-47A2-9EBA-D78B86A45A4E}" type="presParOf" srcId="{147EF30B-BA3D-4473-9AD2-CC7014F27C11}" destId="{E7CAB4B1-64D6-4507-9B2D-46604CB6848C}" srcOrd="1" destOrd="0" presId="urn:microsoft.com/office/officeart/2005/8/layout/orgChart1"/>
    <dgm:cxn modelId="{AEF40AC8-7C83-479A-9B35-E9E719DA9619}" type="presParOf" srcId="{147EF30B-BA3D-4473-9AD2-CC7014F27C11}" destId="{283463B1-15A6-4BEF-B96E-DE2502D9F6DF}" srcOrd="2" destOrd="0" presId="urn:microsoft.com/office/officeart/2005/8/layout/orgChart1"/>
    <dgm:cxn modelId="{01B11AD8-FFF5-4273-8D17-E40A5AFACDCD}" type="presParOf" srcId="{5AD24796-DC78-4C67-B9F3-06DC4CB79087}" destId="{6105CD00-5C50-452A-994E-5B0FFFC4DA91}" srcOrd="2" destOrd="0" presId="urn:microsoft.com/office/officeart/2005/8/layout/orgChart1"/>
    <dgm:cxn modelId="{91C5BB00-6ADE-4F0E-A4B1-B696028FD8A4}" type="presParOf" srcId="{E18799E9-9DA7-423F-B7B3-369EFE76B3B6}" destId="{430C728D-004C-49FD-A0C1-71CD6E772786}" srcOrd="2" destOrd="0" presId="urn:microsoft.com/office/officeart/2005/8/layout/orgChart1"/>
    <dgm:cxn modelId="{212BB27A-8698-46DC-857C-8ACD5A931828}" type="presParOf" srcId="{25A00B3E-FEA8-439F-999E-8DB6BC95DBC0}" destId="{B87F60ED-85BE-4872-BA6E-CDCB9CBDC6A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A26E1133-27F8-42A1-91FE-23383B9ACC99}" type="doc">
      <dgm:prSet loTypeId="urn:microsoft.com/office/officeart/2005/8/layout/orgChart1" loCatId="hierarchy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3BDC9E6-B3ED-4E11-B81F-A36F96CA06AD}">
      <dgm:prSet custT="1"/>
      <dgm:spPr/>
      <dgm:t>
        <a:bodyPr/>
        <a:lstStyle/>
        <a:p>
          <a:pPr rtl="0"/>
          <a:r>
            <a:rPr lang="en-US" sz="1800" dirty="0" smtClean="0"/>
            <a:t>Testability</a:t>
          </a:r>
          <a:endParaRPr lang="en-US" sz="1800" dirty="0"/>
        </a:p>
      </dgm:t>
    </dgm:pt>
    <dgm:pt modelId="{818B4425-229C-4D05-BD73-F2583AB7B9C5}" type="parTrans" cxnId="{E040E2E2-F016-4F82-9927-EA3D62DA0F57}">
      <dgm:prSet/>
      <dgm:spPr/>
      <dgm:t>
        <a:bodyPr/>
        <a:lstStyle/>
        <a:p>
          <a:endParaRPr lang="en-US" sz="3600"/>
        </a:p>
      </dgm:t>
    </dgm:pt>
    <dgm:pt modelId="{A3D2AA9D-1D2C-45CA-9A99-0FD9E343747F}" type="sibTrans" cxnId="{E040E2E2-F016-4F82-9927-EA3D62DA0F57}">
      <dgm:prSet/>
      <dgm:spPr/>
      <dgm:t>
        <a:bodyPr/>
        <a:lstStyle/>
        <a:p>
          <a:endParaRPr lang="en-US" sz="3600"/>
        </a:p>
      </dgm:t>
    </dgm:pt>
    <dgm:pt modelId="{843E3B21-DC9F-4CF8-A7F1-93BF704E47A7}">
      <dgm:prSet custT="1"/>
      <dgm:spPr/>
      <dgm:t>
        <a:bodyPr/>
        <a:lstStyle/>
        <a:p>
          <a:pPr rtl="0"/>
          <a:r>
            <a:rPr lang="en-US" sz="1600" dirty="0" smtClean="0"/>
            <a:t>Manage controllability and </a:t>
          </a:r>
          <a:r>
            <a:rPr lang="en-US" sz="1600" dirty="0" err="1" smtClean="0"/>
            <a:t>Observability</a:t>
          </a:r>
          <a:endParaRPr lang="en-US" sz="1600" dirty="0"/>
        </a:p>
      </dgm:t>
    </dgm:pt>
    <dgm:pt modelId="{3EEFE082-C4FA-499A-BA01-E4B8217A4B73}" type="parTrans" cxnId="{3C110BFF-FD87-473E-9985-0D9D761E60BD}">
      <dgm:prSet/>
      <dgm:spPr/>
      <dgm:t>
        <a:bodyPr/>
        <a:lstStyle/>
        <a:p>
          <a:endParaRPr lang="en-US" sz="3600"/>
        </a:p>
      </dgm:t>
    </dgm:pt>
    <dgm:pt modelId="{2992CB8F-FBF4-486F-BE86-7AEC96D28238}" type="sibTrans" cxnId="{3C110BFF-FD87-473E-9985-0D9D761E60BD}">
      <dgm:prSet/>
      <dgm:spPr/>
      <dgm:t>
        <a:bodyPr/>
        <a:lstStyle/>
        <a:p>
          <a:endParaRPr lang="en-US" sz="3600"/>
        </a:p>
      </dgm:t>
    </dgm:pt>
    <dgm:pt modelId="{A240A1E1-162D-4A6E-A806-B6FF45B3AB68}">
      <dgm:prSet custT="1"/>
      <dgm:spPr/>
      <dgm:t>
        <a:bodyPr/>
        <a:lstStyle/>
        <a:p>
          <a:pPr rtl="0"/>
          <a:r>
            <a:rPr lang="en-US" sz="1600" dirty="0" smtClean="0"/>
            <a:t>Limit Structural complexity</a:t>
          </a:r>
          <a:endParaRPr lang="en-US" sz="1600" dirty="0"/>
        </a:p>
      </dgm:t>
    </dgm:pt>
    <dgm:pt modelId="{F0BD47AB-7AC9-40A2-A96D-1A911EFDE7FF}" type="parTrans" cxnId="{CCB5AE26-70F4-4C5B-B53D-136E39A12AC5}">
      <dgm:prSet/>
      <dgm:spPr/>
      <dgm:t>
        <a:bodyPr/>
        <a:lstStyle/>
        <a:p>
          <a:endParaRPr lang="en-US" sz="3600"/>
        </a:p>
      </dgm:t>
    </dgm:pt>
    <dgm:pt modelId="{A12D77FB-8453-4F78-A007-65AD68966259}" type="sibTrans" cxnId="{CCB5AE26-70F4-4C5B-B53D-136E39A12AC5}">
      <dgm:prSet/>
      <dgm:spPr/>
      <dgm:t>
        <a:bodyPr/>
        <a:lstStyle/>
        <a:p>
          <a:endParaRPr lang="en-US" sz="3600"/>
        </a:p>
      </dgm:t>
    </dgm:pt>
    <dgm:pt modelId="{E420C67E-C4C2-476B-9B47-FFB47D587009}">
      <dgm:prSet custT="1"/>
      <dgm:spPr/>
      <dgm:t>
        <a:bodyPr/>
        <a:lstStyle/>
        <a:p>
          <a:pPr rtl="0"/>
          <a:r>
            <a:rPr lang="en-US" sz="1600" dirty="0" smtClean="0"/>
            <a:t>Internal Monitoring</a:t>
          </a:r>
          <a:endParaRPr lang="en-US" sz="1600" dirty="0"/>
        </a:p>
      </dgm:t>
    </dgm:pt>
    <dgm:pt modelId="{65D088B7-B36E-49AA-84B9-2BC51B326EA1}" type="parTrans" cxnId="{2AC6A1A2-FDAF-4C07-BF93-78DC05214544}">
      <dgm:prSet/>
      <dgm:spPr/>
      <dgm:t>
        <a:bodyPr/>
        <a:lstStyle/>
        <a:p>
          <a:endParaRPr lang="en-US" sz="3600"/>
        </a:p>
      </dgm:t>
    </dgm:pt>
    <dgm:pt modelId="{7CC715FB-928E-4CFE-A8F5-045F16B2D743}" type="sibTrans" cxnId="{2AC6A1A2-FDAF-4C07-BF93-78DC05214544}">
      <dgm:prSet/>
      <dgm:spPr/>
      <dgm:t>
        <a:bodyPr/>
        <a:lstStyle/>
        <a:p>
          <a:endParaRPr lang="en-US" sz="3600"/>
        </a:p>
      </dgm:t>
    </dgm:pt>
    <dgm:pt modelId="{1CE2D78B-C788-472A-8424-7F9A4AB5205E}">
      <dgm:prSet custT="1"/>
      <dgm:spPr/>
      <dgm:t>
        <a:bodyPr/>
        <a:lstStyle/>
        <a:p>
          <a:pPr rtl="0"/>
          <a:r>
            <a:rPr lang="en-US" sz="1600" dirty="0" smtClean="0"/>
            <a:t>Manage Complexity</a:t>
          </a:r>
          <a:endParaRPr lang="en-US" sz="1600" dirty="0"/>
        </a:p>
      </dgm:t>
    </dgm:pt>
    <dgm:pt modelId="{6ED4E1AA-EFDD-4E70-836E-3DB36084DE98}" type="parTrans" cxnId="{0D252A7C-EA88-478B-9AB7-96B65AE1E68A}">
      <dgm:prSet/>
      <dgm:spPr/>
      <dgm:t>
        <a:bodyPr/>
        <a:lstStyle/>
        <a:p>
          <a:endParaRPr lang="en-US" sz="3600"/>
        </a:p>
      </dgm:t>
    </dgm:pt>
    <dgm:pt modelId="{1D0F051B-C9A8-457A-BE08-985EF4C28172}" type="sibTrans" cxnId="{0D252A7C-EA88-478B-9AB7-96B65AE1E68A}">
      <dgm:prSet/>
      <dgm:spPr/>
      <dgm:t>
        <a:bodyPr/>
        <a:lstStyle/>
        <a:p>
          <a:endParaRPr lang="en-US" sz="3600"/>
        </a:p>
      </dgm:t>
    </dgm:pt>
    <dgm:pt modelId="{35016019-1F0E-47A9-A9CB-AE98C0AFCFC1}">
      <dgm:prSet custT="1"/>
      <dgm:spPr/>
      <dgm:t>
        <a:bodyPr/>
        <a:lstStyle/>
        <a:p>
          <a:pPr rtl="0"/>
          <a:r>
            <a:rPr lang="en-US" sz="1600" dirty="0" smtClean="0"/>
            <a:t>Limit non-determinism</a:t>
          </a:r>
          <a:endParaRPr lang="en-US" sz="1600" dirty="0"/>
        </a:p>
      </dgm:t>
    </dgm:pt>
    <dgm:pt modelId="{A60BCA66-49BB-4275-9110-8B471B3FC59B}" type="parTrans" cxnId="{F0C0AED6-3BFB-430A-84C4-C1842ECA49F1}">
      <dgm:prSet/>
      <dgm:spPr/>
      <dgm:t>
        <a:bodyPr/>
        <a:lstStyle/>
        <a:p>
          <a:endParaRPr lang="en-US" sz="3600"/>
        </a:p>
      </dgm:t>
    </dgm:pt>
    <dgm:pt modelId="{549EC933-326F-43C6-A4AD-B0C6604A5CF9}" type="sibTrans" cxnId="{F0C0AED6-3BFB-430A-84C4-C1842ECA49F1}">
      <dgm:prSet/>
      <dgm:spPr/>
      <dgm:t>
        <a:bodyPr/>
        <a:lstStyle/>
        <a:p>
          <a:endParaRPr lang="en-US" sz="3600"/>
        </a:p>
      </dgm:t>
    </dgm:pt>
    <dgm:pt modelId="{0216D3CF-84E5-4443-8082-6C6C297E9A4D}">
      <dgm:prSet custT="1"/>
      <dgm:spPr/>
      <dgm:t>
        <a:bodyPr/>
        <a:lstStyle/>
        <a:p>
          <a:pPr rtl="0"/>
          <a:r>
            <a:rPr lang="en-US" sz="1600" dirty="0" smtClean="0"/>
            <a:t>Introduce built-in monitor in the system</a:t>
          </a:r>
          <a:endParaRPr lang="en-US" sz="1600" dirty="0"/>
        </a:p>
      </dgm:t>
    </dgm:pt>
    <dgm:pt modelId="{C3334397-F4C9-43FD-9DE7-786437A51BF8}" type="parTrans" cxnId="{EF17C288-FABF-470A-9F6E-6F1AC60C08BE}">
      <dgm:prSet/>
      <dgm:spPr/>
      <dgm:t>
        <a:bodyPr/>
        <a:lstStyle/>
        <a:p>
          <a:endParaRPr lang="en-US" sz="3600"/>
        </a:p>
      </dgm:t>
    </dgm:pt>
    <dgm:pt modelId="{9C27E3D0-AEBB-4C4C-AFEA-8F9AF608B21E}" type="sibTrans" cxnId="{EF17C288-FABF-470A-9F6E-6F1AC60C08BE}">
      <dgm:prSet/>
      <dgm:spPr/>
      <dgm:t>
        <a:bodyPr/>
        <a:lstStyle/>
        <a:p>
          <a:endParaRPr lang="en-US" sz="3600"/>
        </a:p>
      </dgm:t>
    </dgm:pt>
    <dgm:pt modelId="{720AE7B9-47AD-4FF9-8447-DF1B8C5FD193}">
      <dgm:prSet custT="1"/>
      <dgm:spPr/>
      <dgm:t>
        <a:bodyPr/>
        <a:lstStyle/>
        <a:p>
          <a:pPr rtl="0"/>
          <a:r>
            <a:rPr lang="en-US" sz="1600" dirty="0" smtClean="0"/>
            <a:t>Record and playback</a:t>
          </a:r>
          <a:endParaRPr lang="en-US" sz="1600" dirty="0"/>
        </a:p>
      </dgm:t>
    </dgm:pt>
    <dgm:pt modelId="{3722DDF4-26E2-4422-A516-DEEAC3ECF65B}" type="parTrans" cxnId="{C7B12242-93F1-42B1-8149-73B2BE7E9DC0}">
      <dgm:prSet/>
      <dgm:spPr/>
      <dgm:t>
        <a:bodyPr/>
        <a:lstStyle/>
        <a:p>
          <a:endParaRPr lang="en-US" sz="3600"/>
        </a:p>
      </dgm:t>
    </dgm:pt>
    <dgm:pt modelId="{D7F902F3-F976-415B-98C3-59057320C539}" type="sibTrans" cxnId="{C7B12242-93F1-42B1-8149-73B2BE7E9DC0}">
      <dgm:prSet/>
      <dgm:spPr/>
      <dgm:t>
        <a:bodyPr/>
        <a:lstStyle/>
        <a:p>
          <a:endParaRPr lang="en-US" sz="3600"/>
        </a:p>
      </dgm:t>
    </dgm:pt>
    <dgm:pt modelId="{7D7C3FA2-CE75-4B7D-A218-416906B8D917}">
      <dgm:prSet custT="1"/>
      <dgm:spPr/>
      <dgm:t>
        <a:bodyPr/>
        <a:lstStyle/>
        <a:p>
          <a:pPr rtl="0"/>
          <a:r>
            <a:rPr lang="en-US" sz="1600" dirty="0" smtClean="0"/>
            <a:t>Specialized Interface</a:t>
          </a:r>
          <a:endParaRPr lang="en-US" sz="1600" dirty="0"/>
        </a:p>
      </dgm:t>
    </dgm:pt>
    <dgm:pt modelId="{14236E25-24F5-4DBC-8E23-FED5A30DEF0E}" type="parTrans" cxnId="{2648CEB6-4DB9-42A6-B700-4831395E15AC}">
      <dgm:prSet/>
      <dgm:spPr/>
      <dgm:t>
        <a:bodyPr/>
        <a:lstStyle/>
        <a:p>
          <a:endParaRPr lang="en-US" sz="3600"/>
        </a:p>
      </dgm:t>
    </dgm:pt>
    <dgm:pt modelId="{FB40D391-DB77-4C2C-BDCE-7A207CEAE6FE}" type="sibTrans" cxnId="{2648CEB6-4DB9-42A6-B700-4831395E15AC}">
      <dgm:prSet/>
      <dgm:spPr/>
      <dgm:t>
        <a:bodyPr/>
        <a:lstStyle/>
        <a:p>
          <a:endParaRPr lang="en-US" sz="3600"/>
        </a:p>
      </dgm:t>
    </dgm:pt>
    <dgm:pt modelId="{9B931718-FC68-4B2E-9854-492BCFE6FE83}">
      <dgm:prSet custT="1"/>
      <dgm:spPr/>
      <dgm:t>
        <a:bodyPr/>
        <a:lstStyle/>
        <a:p>
          <a:pPr rtl="0"/>
          <a:r>
            <a:rPr lang="en-US" sz="1600" dirty="0" smtClean="0"/>
            <a:t>Separate interface and implementation</a:t>
          </a:r>
          <a:endParaRPr lang="en-US" sz="1600" dirty="0"/>
        </a:p>
      </dgm:t>
    </dgm:pt>
    <dgm:pt modelId="{359E2506-5D19-4F9C-8688-C666576175A9}" type="parTrans" cxnId="{6E2E3B55-A6EB-46D7-B7D0-04629FD4C800}">
      <dgm:prSet/>
      <dgm:spPr/>
      <dgm:t>
        <a:bodyPr/>
        <a:lstStyle/>
        <a:p>
          <a:endParaRPr lang="en-US" sz="3600"/>
        </a:p>
      </dgm:t>
    </dgm:pt>
    <dgm:pt modelId="{3113A228-1208-4305-91A0-AEEDFF54B5B2}" type="sibTrans" cxnId="{6E2E3B55-A6EB-46D7-B7D0-04629FD4C800}">
      <dgm:prSet/>
      <dgm:spPr/>
      <dgm:t>
        <a:bodyPr/>
        <a:lstStyle/>
        <a:p>
          <a:endParaRPr lang="en-US" sz="3600"/>
        </a:p>
      </dgm:t>
    </dgm:pt>
    <dgm:pt modelId="{0B5A8C4E-0287-4775-89CD-4F33BAC9506F}">
      <dgm:prSet custT="1"/>
      <dgm:spPr/>
      <dgm:t>
        <a:bodyPr/>
        <a:lstStyle/>
        <a:p>
          <a:pPr rtl="0"/>
          <a:r>
            <a:rPr lang="en-US" sz="1600" dirty="0" smtClean="0"/>
            <a:t>Executable assertion</a:t>
          </a:r>
          <a:endParaRPr lang="en-US" sz="1600" dirty="0"/>
        </a:p>
      </dgm:t>
    </dgm:pt>
    <dgm:pt modelId="{EF032B47-594B-4FE2-82AA-11F85DCB3B05}" type="parTrans" cxnId="{BF0DC91D-EC32-48A1-86C8-FAB69550103E}">
      <dgm:prSet/>
      <dgm:spPr/>
      <dgm:t>
        <a:bodyPr/>
        <a:lstStyle/>
        <a:p>
          <a:endParaRPr lang="en-US" sz="3600"/>
        </a:p>
      </dgm:t>
    </dgm:pt>
    <dgm:pt modelId="{54EDCA25-2AA2-4C65-8635-EE0E2A7EF78B}" type="sibTrans" cxnId="{BF0DC91D-EC32-48A1-86C8-FAB69550103E}">
      <dgm:prSet/>
      <dgm:spPr/>
      <dgm:t>
        <a:bodyPr/>
        <a:lstStyle/>
        <a:p>
          <a:endParaRPr lang="en-US" sz="3600"/>
        </a:p>
      </dgm:t>
    </dgm:pt>
    <dgm:pt modelId="{952DAF52-AE68-4172-A6FB-BEC966E0D344}">
      <dgm:prSet custT="1"/>
      <dgm:spPr/>
      <dgm:t>
        <a:bodyPr/>
        <a:lstStyle/>
        <a:p>
          <a:pPr rtl="0"/>
          <a:r>
            <a:rPr lang="en-US" sz="1600" dirty="0" smtClean="0"/>
            <a:t>Localize data store</a:t>
          </a:r>
          <a:endParaRPr lang="en-US" sz="1600" dirty="0"/>
        </a:p>
      </dgm:t>
    </dgm:pt>
    <dgm:pt modelId="{E5A2EAE4-118D-44B2-B409-8CEB91FA5E76}" type="parTrans" cxnId="{0A4F78ED-994E-4775-9792-4F8AFB843E13}">
      <dgm:prSet/>
      <dgm:spPr/>
      <dgm:t>
        <a:bodyPr/>
        <a:lstStyle/>
        <a:p>
          <a:endParaRPr lang="en-US" sz="3600"/>
        </a:p>
      </dgm:t>
    </dgm:pt>
    <dgm:pt modelId="{9F184476-99DB-4158-BA52-C9F0136CB0E4}" type="sibTrans" cxnId="{0A4F78ED-994E-4775-9792-4F8AFB843E13}">
      <dgm:prSet/>
      <dgm:spPr/>
      <dgm:t>
        <a:bodyPr/>
        <a:lstStyle/>
        <a:p>
          <a:endParaRPr lang="en-US" sz="3600"/>
        </a:p>
      </dgm:t>
    </dgm:pt>
    <dgm:pt modelId="{5AFDEC37-303D-4C39-871D-86C74E419A23}">
      <dgm:prSet custT="1"/>
      <dgm:spPr/>
      <dgm:t>
        <a:bodyPr/>
        <a:lstStyle/>
        <a:p>
          <a:pPr rtl="0"/>
          <a:r>
            <a:rPr lang="en-US" sz="1600" dirty="0" smtClean="0"/>
            <a:t>Sandbox</a:t>
          </a:r>
          <a:endParaRPr lang="en-US" sz="1600" dirty="0"/>
        </a:p>
      </dgm:t>
    </dgm:pt>
    <dgm:pt modelId="{38271EC2-1F65-43B3-87B0-6BB11652BC0F}" type="parTrans" cxnId="{C3A4E08C-0B25-4A04-8AD3-550D4D86E432}">
      <dgm:prSet/>
      <dgm:spPr/>
      <dgm:t>
        <a:bodyPr/>
        <a:lstStyle/>
        <a:p>
          <a:endParaRPr lang="en-US" sz="3600"/>
        </a:p>
      </dgm:t>
    </dgm:pt>
    <dgm:pt modelId="{157849EC-686C-46C2-98FE-E58DF03FCC11}" type="sibTrans" cxnId="{C3A4E08C-0B25-4A04-8AD3-550D4D86E432}">
      <dgm:prSet/>
      <dgm:spPr/>
      <dgm:t>
        <a:bodyPr/>
        <a:lstStyle/>
        <a:p>
          <a:endParaRPr lang="en-US" sz="3600"/>
        </a:p>
      </dgm:t>
    </dgm:pt>
    <dgm:pt modelId="{E9F5810C-05C5-4937-8779-609DD6BD5CFD}" type="pres">
      <dgm:prSet presAssocID="{A26E1133-27F8-42A1-91FE-23383B9ACC9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5A00B3E-FEA8-439F-999E-8DB6BC95DBC0}" type="pres">
      <dgm:prSet presAssocID="{43BDC9E6-B3ED-4E11-B81F-A36F96CA06AD}" presName="hierRoot1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305CB9B7-E4C6-453D-AC39-1DA3FA25C576}" type="pres">
      <dgm:prSet presAssocID="{43BDC9E6-B3ED-4E11-B81F-A36F96CA06AD}" presName="rootComposite1" presStyleCnt="0"/>
      <dgm:spPr/>
      <dgm:t>
        <a:bodyPr/>
        <a:lstStyle/>
        <a:p>
          <a:endParaRPr lang="en-US"/>
        </a:p>
      </dgm:t>
    </dgm:pt>
    <dgm:pt modelId="{1AD90FEA-3135-49C2-A3C0-CFEDDC6405B3}" type="pres">
      <dgm:prSet presAssocID="{43BDC9E6-B3ED-4E11-B81F-A36F96CA06AD}" presName="rootText1" presStyleLbl="node0" presStyleIdx="0" presStyleCnt="1" custScaleX="13224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EF86BC6-06CE-4768-9942-F4420543D5EE}" type="pres">
      <dgm:prSet presAssocID="{43BDC9E6-B3ED-4E11-B81F-A36F96CA06AD}" presName="rootConnector1" presStyleLbl="node1" presStyleIdx="0" presStyleCnt="0"/>
      <dgm:spPr/>
      <dgm:t>
        <a:bodyPr/>
        <a:lstStyle/>
        <a:p>
          <a:endParaRPr lang="en-US"/>
        </a:p>
      </dgm:t>
    </dgm:pt>
    <dgm:pt modelId="{EC72B6B4-B63E-4FE2-8CC2-5FA221770366}" type="pres">
      <dgm:prSet presAssocID="{43BDC9E6-B3ED-4E11-B81F-A36F96CA06AD}" presName="hierChild2" presStyleCnt="0"/>
      <dgm:spPr/>
      <dgm:t>
        <a:bodyPr/>
        <a:lstStyle/>
        <a:p>
          <a:endParaRPr lang="en-US"/>
        </a:p>
      </dgm:t>
    </dgm:pt>
    <dgm:pt modelId="{A3BC68A0-CABF-4126-884C-C90818E1E26E}" type="pres">
      <dgm:prSet presAssocID="{3EEFE082-C4FA-499A-BA01-E4B8217A4B73}" presName="Name37" presStyleLbl="parChTrans1D2" presStyleIdx="0" presStyleCnt="3"/>
      <dgm:spPr/>
      <dgm:t>
        <a:bodyPr/>
        <a:lstStyle/>
        <a:p>
          <a:endParaRPr lang="en-US"/>
        </a:p>
      </dgm:t>
    </dgm:pt>
    <dgm:pt modelId="{9B84C5AA-6259-445A-8F7A-6D366FCBB4AD}" type="pres">
      <dgm:prSet presAssocID="{843E3B21-DC9F-4CF8-A7F1-93BF704E47A7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F324FB99-E565-440D-9319-A2867DA87756}" type="pres">
      <dgm:prSet presAssocID="{843E3B21-DC9F-4CF8-A7F1-93BF704E47A7}" presName="rootComposite" presStyleCnt="0"/>
      <dgm:spPr/>
      <dgm:t>
        <a:bodyPr/>
        <a:lstStyle/>
        <a:p>
          <a:endParaRPr lang="en-US"/>
        </a:p>
      </dgm:t>
    </dgm:pt>
    <dgm:pt modelId="{5E5C4910-D5C2-4117-9825-0F4E2308A1D4}" type="pres">
      <dgm:prSet presAssocID="{843E3B21-DC9F-4CF8-A7F1-93BF704E47A7}" presName="rootText" presStyleLbl="node2" presStyleIdx="0" presStyleCnt="3" custScaleX="194214" custScaleY="161523" custLinFactX="-100000" custLinFactNeighborX="-116957" custLinFactNeighborY="454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B22B6A5-BFAD-4E5F-BED0-C002FA69FEEF}" type="pres">
      <dgm:prSet presAssocID="{843E3B21-DC9F-4CF8-A7F1-93BF704E47A7}" presName="rootConnector" presStyleLbl="node2" presStyleIdx="0" presStyleCnt="3"/>
      <dgm:spPr/>
      <dgm:t>
        <a:bodyPr/>
        <a:lstStyle/>
        <a:p>
          <a:endParaRPr lang="en-US"/>
        </a:p>
      </dgm:t>
    </dgm:pt>
    <dgm:pt modelId="{16186025-4BC6-46E2-97F6-F9084F02632D}" type="pres">
      <dgm:prSet presAssocID="{843E3B21-DC9F-4CF8-A7F1-93BF704E47A7}" presName="hierChild4" presStyleCnt="0"/>
      <dgm:spPr/>
      <dgm:t>
        <a:bodyPr/>
        <a:lstStyle/>
        <a:p>
          <a:endParaRPr lang="en-US"/>
        </a:p>
      </dgm:t>
    </dgm:pt>
    <dgm:pt modelId="{A83ED5F7-10A0-45C9-B814-5804FA76917E}" type="pres">
      <dgm:prSet presAssocID="{3722DDF4-26E2-4422-A516-DEEAC3ECF65B}" presName="Name37" presStyleLbl="parChTrans1D3" presStyleIdx="0" presStyleCnt="9"/>
      <dgm:spPr/>
      <dgm:t>
        <a:bodyPr/>
        <a:lstStyle/>
        <a:p>
          <a:endParaRPr lang="en-US"/>
        </a:p>
      </dgm:t>
    </dgm:pt>
    <dgm:pt modelId="{D44CFE56-6231-4D51-BDF4-F9842887D455}" type="pres">
      <dgm:prSet presAssocID="{720AE7B9-47AD-4FF9-8447-DF1B8C5FD193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F340CB26-8421-44AC-9592-9BB7E87D96B8}" type="pres">
      <dgm:prSet presAssocID="{720AE7B9-47AD-4FF9-8447-DF1B8C5FD193}" presName="rootComposite" presStyleCnt="0"/>
      <dgm:spPr/>
      <dgm:t>
        <a:bodyPr/>
        <a:lstStyle/>
        <a:p>
          <a:endParaRPr lang="en-US"/>
        </a:p>
      </dgm:t>
    </dgm:pt>
    <dgm:pt modelId="{1064D61A-5C37-497D-A6F5-6312AB6E3F5A}" type="pres">
      <dgm:prSet presAssocID="{720AE7B9-47AD-4FF9-8447-DF1B8C5FD193}" presName="rootText" presStyleLbl="node3" presStyleIdx="0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D0BA542-EABF-46D4-A11D-8954A50A4A27}" type="pres">
      <dgm:prSet presAssocID="{720AE7B9-47AD-4FF9-8447-DF1B8C5FD193}" presName="rootConnector" presStyleLbl="node3" presStyleIdx="0" presStyleCnt="9"/>
      <dgm:spPr/>
      <dgm:t>
        <a:bodyPr/>
        <a:lstStyle/>
        <a:p>
          <a:endParaRPr lang="en-US"/>
        </a:p>
      </dgm:t>
    </dgm:pt>
    <dgm:pt modelId="{CB5479DD-BB83-4A7F-A8FE-0204BBEBDE57}" type="pres">
      <dgm:prSet presAssocID="{720AE7B9-47AD-4FF9-8447-DF1B8C5FD193}" presName="hierChild4" presStyleCnt="0"/>
      <dgm:spPr/>
      <dgm:t>
        <a:bodyPr/>
        <a:lstStyle/>
        <a:p>
          <a:endParaRPr lang="en-US"/>
        </a:p>
      </dgm:t>
    </dgm:pt>
    <dgm:pt modelId="{72F3B94E-5E2C-4DF9-BCD5-3D635951032C}" type="pres">
      <dgm:prSet presAssocID="{720AE7B9-47AD-4FF9-8447-DF1B8C5FD193}" presName="hierChild5" presStyleCnt="0"/>
      <dgm:spPr/>
      <dgm:t>
        <a:bodyPr/>
        <a:lstStyle/>
        <a:p>
          <a:endParaRPr lang="en-US"/>
        </a:p>
      </dgm:t>
    </dgm:pt>
    <dgm:pt modelId="{A2B3E9C0-0CE1-4B88-9E71-F7CE1A7F99D7}" type="pres">
      <dgm:prSet presAssocID="{14236E25-24F5-4DBC-8E23-FED5A30DEF0E}" presName="Name37" presStyleLbl="parChTrans1D3" presStyleIdx="1" presStyleCnt="9"/>
      <dgm:spPr/>
      <dgm:t>
        <a:bodyPr/>
        <a:lstStyle/>
        <a:p>
          <a:endParaRPr lang="en-US"/>
        </a:p>
      </dgm:t>
    </dgm:pt>
    <dgm:pt modelId="{16797127-63BB-4E8C-8005-5E72B3FF9B3C}" type="pres">
      <dgm:prSet presAssocID="{7D7C3FA2-CE75-4B7D-A218-416906B8D917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4DFEF789-40AF-4966-81EA-F7C1CBE52773}" type="pres">
      <dgm:prSet presAssocID="{7D7C3FA2-CE75-4B7D-A218-416906B8D917}" presName="rootComposite" presStyleCnt="0"/>
      <dgm:spPr/>
      <dgm:t>
        <a:bodyPr/>
        <a:lstStyle/>
        <a:p>
          <a:endParaRPr lang="en-US"/>
        </a:p>
      </dgm:t>
    </dgm:pt>
    <dgm:pt modelId="{A77E27D0-EFD7-495B-9E1A-5A5371B8AB84}" type="pres">
      <dgm:prSet presAssocID="{7D7C3FA2-CE75-4B7D-A218-416906B8D917}" presName="rootText" presStyleLbl="node3" presStyleIdx="1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3F8734B-291F-4EE9-8AEC-5D7130065FE8}" type="pres">
      <dgm:prSet presAssocID="{7D7C3FA2-CE75-4B7D-A218-416906B8D917}" presName="rootConnector" presStyleLbl="node3" presStyleIdx="1" presStyleCnt="9"/>
      <dgm:spPr/>
      <dgm:t>
        <a:bodyPr/>
        <a:lstStyle/>
        <a:p>
          <a:endParaRPr lang="en-US"/>
        </a:p>
      </dgm:t>
    </dgm:pt>
    <dgm:pt modelId="{F1241E53-1837-4666-9A60-B6AD42958195}" type="pres">
      <dgm:prSet presAssocID="{7D7C3FA2-CE75-4B7D-A218-416906B8D917}" presName="hierChild4" presStyleCnt="0"/>
      <dgm:spPr/>
      <dgm:t>
        <a:bodyPr/>
        <a:lstStyle/>
        <a:p>
          <a:endParaRPr lang="en-US"/>
        </a:p>
      </dgm:t>
    </dgm:pt>
    <dgm:pt modelId="{E1079AD2-0C8E-44F0-9596-6D504E6161CE}" type="pres">
      <dgm:prSet presAssocID="{7D7C3FA2-CE75-4B7D-A218-416906B8D917}" presName="hierChild5" presStyleCnt="0"/>
      <dgm:spPr/>
      <dgm:t>
        <a:bodyPr/>
        <a:lstStyle/>
        <a:p>
          <a:endParaRPr lang="en-US"/>
        </a:p>
      </dgm:t>
    </dgm:pt>
    <dgm:pt modelId="{50C84909-550F-4BDC-8966-B86E5E1786AE}" type="pres">
      <dgm:prSet presAssocID="{359E2506-5D19-4F9C-8688-C666576175A9}" presName="Name37" presStyleLbl="parChTrans1D3" presStyleIdx="2" presStyleCnt="9"/>
      <dgm:spPr/>
      <dgm:t>
        <a:bodyPr/>
        <a:lstStyle/>
        <a:p>
          <a:endParaRPr lang="en-US"/>
        </a:p>
      </dgm:t>
    </dgm:pt>
    <dgm:pt modelId="{EBCAC25B-3E97-4708-AA7E-0D44E4C06B2C}" type="pres">
      <dgm:prSet presAssocID="{9B931718-FC68-4B2E-9854-492BCFE6FE83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56A22D43-7DD1-46E6-B06A-D1D662EE6DAD}" type="pres">
      <dgm:prSet presAssocID="{9B931718-FC68-4B2E-9854-492BCFE6FE83}" presName="rootComposite" presStyleCnt="0"/>
      <dgm:spPr/>
      <dgm:t>
        <a:bodyPr/>
        <a:lstStyle/>
        <a:p>
          <a:endParaRPr lang="en-US"/>
        </a:p>
      </dgm:t>
    </dgm:pt>
    <dgm:pt modelId="{984A4F3B-0A00-4E5A-9092-1922B8A7FAB3}" type="pres">
      <dgm:prSet presAssocID="{9B931718-FC68-4B2E-9854-492BCFE6FE83}" presName="rootText" presStyleLbl="node3" presStyleIdx="2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00B55C8-272E-490B-AB5F-A5C6369E8C79}" type="pres">
      <dgm:prSet presAssocID="{9B931718-FC68-4B2E-9854-492BCFE6FE83}" presName="rootConnector" presStyleLbl="node3" presStyleIdx="2" presStyleCnt="9"/>
      <dgm:spPr/>
      <dgm:t>
        <a:bodyPr/>
        <a:lstStyle/>
        <a:p>
          <a:endParaRPr lang="en-US"/>
        </a:p>
      </dgm:t>
    </dgm:pt>
    <dgm:pt modelId="{18D6C1B6-F902-4ABE-BB60-086B907C1C3A}" type="pres">
      <dgm:prSet presAssocID="{9B931718-FC68-4B2E-9854-492BCFE6FE83}" presName="hierChild4" presStyleCnt="0"/>
      <dgm:spPr/>
      <dgm:t>
        <a:bodyPr/>
        <a:lstStyle/>
        <a:p>
          <a:endParaRPr lang="en-US"/>
        </a:p>
      </dgm:t>
    </dgm:pt>
    <dgm:pt modelId="{4E3F742A-A2F5-4971-A026-90DA3CFE956C}" type="pres">
      <dgm:prSet presAssocID="{9B931718-FC68-4B2E-9854-492BCFE6FE83}" presName="hierChild5" presStyleCnt="0"/>
      <dgm:spPr/>
      <dgm:t>
        <a:bodyPr/>
        <a:lstStyle/>
        <a:p>
          <a:endParaRPr lang="en-US"/>
        </a:p>
      </dgm:t>
    </dgm:pt>
    <dgm:pt modelId="{6262AD45-37CE-4E4E-81E1-98A75BFFED33}" type="pres">
      <dgm:prSet presAssocID="{EF032B47-594B-4FE2-82AA-11F85DCB3B05}" presName="Name37" presStyleLbl="parChTrans1D3" presStyleIdx="3" presStyleCnt="9"/>
      <dgm:spPr/>
      <dgm:t>
        <a:bodyPr/>
        <a:lstStyle/>
        <a:p>
          <a:endParaRPr lang="en-US"/>
        </a:p>
      </dgm:t>
    </dgm:pt>
    <dgm:pt modelId="{3BDA7C33-CC97-412E-A3EC-9F252E4F5A5A}" type="pres">
      <dgm:prSet presAssocID="{0B5A8C4E-0287-4775-89CD-4F33BAC9506F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2723E1CD-4CEE-4F07-87CD-20B12A8FC827}" type="pres">
      <dgm:prSet presAssocID="{0B5A8C4E-0287-4775-89CD-4F33BAC9506F}" presName="rootComposite" presStyleCnt="0"/>
      <dgm:spPr/>
      <dgm:t>
        <a:bodyPr/>
        <a:lstStyle/>
        <a:p>
          <a:endParaRPr lang="en-US"/>
        </a:p>
      </dgm:t>
    </dgm:pt>
    <dgm:pt modelId="{E8D3E92A-0794-4DFF-ADF5-83A9F9869BDA}" type="pres">
      <dgm:prSet presAssocID="{0B5A8C4E-0287-4775-89CD-4F33BAC9506F}" presName="rootText" presStyleLbl="node3" presStyleIdx="3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4F391C2-584B-4F01-9A6E-BB77AA2A997A}" type="pres">
      <dgm:prSet presAssocID="{0B5A8C4E-0287-4775-89CD-4F33BAC9506F}" presName="rootConnector" presStyleLbl="node3" presStyleIdx="3" presStyleCnt="9"/>
      <dgm:spPr/>
      <dgm:t>
        <a:bodyPr/>
        <a:lstStyle/>
        <a:p>
          <a:endParaRPr lang="en-US"/>
        </a:p>
      </dgm:t>
    </dgm:pt>
    <dgm:pt modelId="{B2E11ABB-6C93-42E1-91A1-DB542954BA14}" type="pres">
      <dgm:prSet presAssocID="{0B5A8C4E-0287-4775-89CD-4F33BAC9506F}" presName="hierChild4" presStyleCnt="0"/>
      <dgm:spPr/>
      <dgm:t>
        <a:bodyPr/>
        <a:lstStyle/>
        <a:p>
          <a:endParaRPr lang="en-US"/>
        </a:p>
      </dgm:t>
    </dgm:pt>
    <dgm:pt modelId="{7916A290-6350-41CF-9D02-42ED9408F54E}" type="pres">
      <dgm:prSet presAssocID="{0B5A8C4E-0287-4775-89CD-4F33BAC9506F}" presName="hierChild5" presStyleCnt="0"/>
      <dgm:spPr/>
      <dgm:t>
        <a:bodyPr/>
        <a:lstStyle/>
        <a:p>
          <a:endParaRPr lang="en-US"/>
        </a:p>
      </dgm:t>
    </dgm:pt>
    <dgm:pt modelId="{0AD99682-343B-4485-A14B-DE65F037093C}" type="pres">
      <dgm:prSet presAssocID="{E5A2EAE4-118D-44B2-B409-8CEB91FA5E76}" presName="Name37" presStyleLbl="parChTrans1D3" presStyleIdx="4" presStyleCnt="9"/>
      <dgm:spPr/>
      <dgm:t>
        <a:bodyPr/>
        <a:lstStyle/>
        <a:p>
          <a:endParaRPr lang="en-US"/>
        </a:p>
      </dgm:t>
    </dgm:pt>
    <dgm:pt modelId="{66F58E59-4021-466D-B511-8DE0ABD9D719}" type="pres">
      <dgm:prSet presAssocID="{952DAF52-AE68-4172-A6FB-BEC966E0D344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2898F04E-976D-464B-AD88-34BE6A9B7381}" type="pres">
      <dgm:prSet presAssocID="{952DAF52-AE68-4172-A6FB-BEC966E0D344}" presName="rootComposite" presStyleCnt="0"/>
      <dgm:spPr/>
      <dgm:t>
        <a:bodyPr/>
        <a:lstStyle/>
        <a:p>
          <a:endParaRPr lang="en-US"/>
        </a:p>
      </dgm:t>
    </dgm:pt>
    <dgm:pt modelId="{A3E484CC-77C3-47AE-B304-C3AADDD9ACD2}" type="pres">
      <dgm:prSet presAssocID="{952DAF52-AE68-4172-A6FB-BEC966E0D344}" presName="rootText" presStyleLbl="node3" presStyleIdx="4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14B7165-E531-4D80-8A5A-747F5271B944}" type="pres">
      <dgm:prSet presAssocID="{952DAF52-AE68-4172-A6FB-BEC966E0D344}" presName="rootConnector" presStyleLbl="node3" presStyleIdx="4" presStyleCnt="9"/>
      <dgm:spPr/>
      <dgm:t>
        <a:bodyPr/>
        <a:lstStyle/>
        <a:p>
          <a:endParaRPr lang="en-US"/>
        </a:p>
      </dgm:t>
    </dgm:pt>
    <dgm:pt modelId="{E6B0D5A4-884A-4729-864C-B0C32C46727A}" type="pres">
      <dgm:prSet presAssocID="{952DAF52-AE68-4172-A6FB-BEC966E0D344}" presName="hierChild4" presStyleCnt="0"/>
      <dgm:spPr/>
      <dgm:t>
        <a:bodyPr/>
        <a:lstStyle/>
        <a:p>
          <a:endParaRPr lang="en-US"/>
        </a:p>
      </dgm:t>
    </dgm:pt>
    <dgm:pt modelId="{3C160525-5F33-4057-894A-F0C79444ED80}" type="pres">
      <dgm:prSet presAssocID="{952DAF52-AE68-4172-A6FB-BEC966E0D344}" presName="hierChild5" presStyleCnt="0"/>
      <dgm:spPr/>
      <dgm:t>
        <a:bodyPr/>
        <a:lstStyle/>
        <a:p>
          <a:endParaRPr lang="en-US"/>
        </a:p>
      </dgm:t>
    </dgm:pt>
    <dgm:pt modelId="{590C0E8E-9146-4FF8-9E81-E2F73D38D307}" type="pres">
      <dgm:prSet presAssocID="{38271EC2-1F65-43B3-87B0-6BB11652BC0F}" presName="Name37" presStyleLbl="parChTrans1D3" presStyleIdx="5" presStyleCnt="9"/>
      <dgm:spPr/>
      <dgm:t>
        <a:bodyPr/>
        <a:lstStyle/>
        <a:p>
          <a:endParaRPr lang="en-US"/>
        </a:p>
      </dgm:t>
    </dgm:pt>
    <dgm:pt modelId="{B8D035F0-4E87-47D4-93A1-5B4102E15684}" type="pres">
      <dgm:prSet presAssocID="{5AFDEC37-303D-4C39-871D-86C74E419A23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B9618333-C328-4BA9-9084-341029DCBB82}" type="pres">
      <dgm:prSet presAssocID="{5AFDEC37-303D-4C39-871D-86C74E419A23}" presName="rootComposite" presStyleCnt="0"/>
      <dgm:spPr/>
      <dgm:t>
        <a:bodyPr/>
        <a:lstStyle/>
        <a:p>
          <a:endParaRPr lang="en-US"/>
        </a:p>
      </dgm:t>
    </dgm:pt>
    <dgm:pt modelId="{BFAB0065-46B4-4707-8B1B-5AD5D852CD73}" type="pres">
      <dgm:prSet presAssocID="{5AFDEC37-303D-4C39-871D-86C74E419A23}" presName="rootText" presStyleLbl="node3" presStyleIdx="5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2F34D39-2854-4551-9A6B-77D1ED85C57F}" type="pres">
      <dgm:prSet presAssocID="{5AFDEC37-303D-4C39-871D-86C74E419A23}" presName="rootConnector" presStyleLbl="node3" presStyleIdx="5" presStyleCnt="9"/>
      <dgm:spPr/>
      <dgm:t>
        <a:bodyPr/>
        <a:lstStyle/>
        <a:p>
          <a:endParaRPr lang="en-US"/>
        </a:p>
      </dgm:t>
    </dgm:pt>
    <dgm:pt modelId="{6B99D04E-64C1-46E8-9CAF-CC329F9FE5FF}" type="pres">
      <dgm:prSet presAssocID="{5AFDEC37-303D-4C39-871D-86C74E419A23}" presName="hierChild4" presStyleCnt="0"/>
      <dgm:spPr/>
      <dgm:t>
        <a:bodyPr/>
        <a:lstStyle/>
        <a:p>
          <a:endParaRPr lang="en-US"/>
        </a:p>
      </dgm:t>
    </dgm:pt>
    <dgm:pt modelId="{6E716853-CC29-454F-B69D-A971E0A337C3}" type="pres">
      <dgm:prSet presAssocID="{5AFDEC37-303D-4C39-871D-86C74E419A23}" presName="hierChild5" presStyleCnt="0"/>
      <dgm:spPr/>
      <dgm:t>
        <a:bodyPr/>
        <a:lstStyle/>
        <a:p>
          <a:endParaRPr lang="en-US"/>
        </a:p>
      </dgm:t>
    </dgm:pt>
    <dgm:pt modelId="{82355405-192E-42E7-B905-7A6FE845C6D9}" type="pres">
      <dgm:prSet presAssocID="{843E3B21-DC9F-4CF8-A7F1-93BF704E47A7}" presName="hierChild5" presStyleCnt="0"/>
      <dgm:spPr/>
      <dgm:t>
        <a:bodyPr/>
        <a:lstStyle/>
        <a:p>
          <a:endParaRPr lang="en-US"/>
        </a:p>
      </dgm:t>
    </dgm:pt>
    <dgm:pt modelId="{96956835-3386-449C-A89B-65F7C680246D}" type="pres">
      <dgm:prSet presAssocID="{65D088B7-B36E-49AA-84B9-2BC51B326EA1}" presName="Name37" presStyleLbl="parChTrans1D2" presStyleIdx="1" presStyleCnt="3"/>
      <dgm:spPr/>
      <dgm:t>
        <a:bodyPr/>
        <a:lstStyle/>
        <a:p>
          <a:endParaRPr lang="en-US"/>
        </a:p>
      </dgm:t>
    </dgm:pt>
    <dgm:pt modelId="{DBD72DFC-EF80-4973-B6E5-D3C9AB052F9E}" type="pres">
      <dgm:prSet presAssocID="{E420C67E-C4C2-476B-9B47-FFB47D587009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72B31F8C-4060-4D82-8D0A-8A332812C464}" type="pres">
      <dgm:prSet presAssocID="{E420C67E-C4C2-476B-9B47-FFB47D587009}" presName="rootComposite" presStyleCnt="0"/>
      <dgm:spPr/>
      <dgm:t>
        <a:bodyPr/>
        <a:lstStyle/>
        <a:p>
          <a:endParaRPr lang="en-US"/>
        </a:p>
      </dgm:t>
    </dgm:pt>
    <dgm:pt modelId="{F0ED6141-24DB-4164-A2D4-B51E750525CD}" type="pres">
      <dgm:prSet presAssocID="{E420C67E-C4C2-476B-9B47-FFB47D587009}" presName="rootText" presStyleLbl="node2" presStyleIdx="1" presStyleCnt="3" custScaleX="138290" custScaleY="107228" custLinFactNeighborX="-43292" custLinFactNeighborY="6086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5256018-C335-4CDB-9EC5-7AE2ABAC1E00}" type="pres">
      <dgm:prSet presAssocID="{E420C67E-C4C2-476B-9B47-FFB47D587009}" presName="rootConnector" presStyleLbl="node2" presStyleIdx="1" presStyleCnt="3"/>
      <dgm:spPr/>
      <dgm:t>
        <a:bodyPr/>
        <a:lstStyle/>
        <a:p>
          <a:endParaRPr lang="en-US"/>
        </a:p>
      </dgm:t>
    </dgm:pt>
    <dgm:pt modelId="{2A7D3334-4741-4667-BCDB-1A78491B4FD4}" type="pres">
      <dgm:prSet presAssocID="{E420C67E-C4C2-476B-9B47-FFB47D587009}" presName="hierChild4" presStyleCnt="0"/>
      <dgm:spPr/>
      <dgm:t>
        <a:bodyPr/>
        <a:lstStyle/>
        <a:p>
          <a:endParaRPr lang="en-US"/>
        </a:p>
      </dgm:t>
    </dgm:pt>
    <dgm:pt modelId="{CC07306D-4BD7-4477-BB61-A954489058D6}" type="pres">
      <dgm:prSet presAssocID="{C3334397-F4C9-43FD-9DE7-786437A51BF8}" presName="Name37" presStyleLbl="parChTrans1D3" presStyleIdx="6" presStyleCnt="9"/>
      <dgm:spPr/>
      <dgm:t>
        <a:bodyPr/>
        <a:lstStyle/>
        <a:p>
          <a:endParaRPr lang="en-US"/>
        </a:p>
      </dgm:t>
    </dgm:pt>
    <dgm:pt modelId="{0ECB6EE9-64D7-46FB-8A0A-B83CD370F0B4}" type="pres">
      <dgm:prSet presAssocID="{0216D3CF-84E5-4443-8082-6C6C297E9A4D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9D96850F-E3A0-4435-B942-5F48B18AC5F4}" type="pres">
      <dgm:prSet presAssocID="{0216D3CF-84E5-4443-8082-6C6C297E9A4D}" presName="rootComposite" presStyleCnt="0"/>
      <dgm:spPr/>
      <dgm:t>
        <a:bodyPr/>
        <a:lstStyle/>
        <a:p>
          <a:endParaRPr lang="en-US"/>
        </a:p>
      </dgm:t>
    </dgm:pt>
    <dgm:pt modelId="{CBCDE87F-FA6C-44B8-A9C2-1E747BE7F736}" type="pres">
      <dgm:prSet presAssocID="{0216D3CF-84E5-4443-8082-6C6C297E9A4D}" presName="rootText" presStyleLbl="node3" presStyleIdx="6" presStyleCnt="9" custScaleX="223979" custScaleY="161509" custLinFactY="66356" custLinFactNeighborX="-381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F9F174C-7D69-49F6-A7FE-7ED9990EB82A}" type="pres">
      <dgm:prSet presAssocID="{0216D3CF-84E5-4443-8082-6C6C297E9A4D}" presName="rootConnector" presStyleLbl="node3" presStyleIdx="6" presStyleCnt="9"/>
      <dgm:spPr/>
      <dgm:t>
        <a:bodyPr/>
        <a:lstStyle/>
        <a:p>
          <a:endParaRPr lang="en-US"/>
        </a:p>
      </dgm:t>
    </dgm:pt>
    <dgm:pt modelId="{1934090D-CBAE-4AB8-9BE7-C9762145998D}" type="pres">
      <dgm:prSet presAssocID="{0216D3CF-84E5-4443-8082-6C6C297E9A4D}" presName="hierChild4" presStyleCnt="0"/>
      <dgm:spPr/>
      <dgm:t>
        <a:bodyPr/>
        <a:lstStyle/>
        <a:p>
          <a:endParaRPr lang="en-US"/>
        </a:p>
      </dgm:t>
    </dgm:pt>
    <dgm:pt modelId="{7BCCCAFF-8404-460B-9A5A-B8BF91057993}" type="pres">
      <dgm:prSet presAssocID="{0216D3CF-84E5-4443-8082-6C6C297E9A4D}" presName="hierChild5" presStyleCnt="0"/>
      <dgm:spPr/>
      <dgm:t>
        <a:bodyPr/>
        <a:lstStyle/>
        <a:p>
          <a:endParaRPr lang="en-US"/>
        </a:p>
      </dgm:t>
    </dgm:pt>
    <dgm:pt modelId="{1DBB8D6B-1EA9-448A-B87B-A162873E7B21}" type="pres">
      <dgm:prSet presAssocID="{E420C67E-C4C2-476B-9B47-FFB47D587009}" presName="hierChild5" presStyleCnt="0"/>
      <dgm:spPr/>
      <dgm:t>
        <a:bodyPr/>
        <a:lstStyle/>
        <a:p>
          <a:endParaRPr lang="en-US"/>
        </a:p>
      </dgm:t>
    </dgm:pt>
    <dgm:pt modelId="{C137CAE9-66E1-459B-A733-9B53B02E07AF}" type="pres">
      <dgm:prSet presAssocID="{6ED4E1AA-EFDD-4E70-836E-3DB36084DE98}" presName="Name37" presStyleLbl="parChTrans1D2" presStyleIdx="2" presStyleCnt="3"/>
      <dgm:spPr/>
      <dgm:t>
        <a:bodyPr/>
        <a:lstStyle/>
        <a:p>
          <a:endParaRPr lang="en-US"/>
        </a:p>
      </dgm:t>
    </dgm:pt>
    <dgm:pt modelId="{35CBA655-D40F-4A2B-B71A-711D392B5A84}" type="pres">
      <dgm:prSet presAssocID="{1CE2D78B-C788-472A-8424-7F9A4AB5205E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9DC86AED-B6DB-4100-9EA0-4E60FFB4A367}" type="pres">
      <dgm:prSet presAssocID="{1CE2D78B-C788-472A-8424-7F9A4AB5205E}" presName="rootComposite" presStyleCnt="0"/>
      <dgm:spPr/>
      <dgm:t>
        <a:bodyPr/>
        <a:lstStyle/>
        <a:p>
          <a:endParaRPr lang="en-US"/>
        </a:p>
      </dgm:t>
    </dgm:pt>
    <dgm:pt modelId="{A5F2589C-C16C-45F2-9A3D-F2A6CB2476D1}" type="pres">
      <dgm:prSet presAssocID="{1CE2D78B-C788-472A-8424-7F9A4AB5205E}" presName="rootText" presStyleLbl="node2" presStyleIdx="2" presStyleCnt="3" custScaleX="150541" custLinFactNeighborX="69761" custLinFactNeighborY="4720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D7B6648-0B7F-4E1F-B6C5-CE0E2F04B9FF}" type="pres">
      <dgm:prSet presAssocID="{1CE2D78B-C788-472A-8424-7F9A4AB5205E}" presName="rootConnector" presStyleLbl="node2" presStyleIdx="2" presStyleCnt="3"/>
      <dgm:spPr/>
      <dgm:t>
        <a:bodyPr/>
        <a:lstStyle/>
        <a:p>
          <a:endParaRPr lang="en-US"/>
        </a:p>
      </dgm:t>
    </dgm:pt>
    <dgm:pt modelId="{29CE8073-D253-4588-B954-7167D33B1947}" type="pres">
      <dgm:prSet presAssocID="{1CE2D78B-C788-472A-8424-7F9A4AB5205E}" presName="hierChild4" presStyleCnt="0"/>
      <dgm:spPr/>
      <dgm:t>
        <a:bodyPr/>
        <a:lstStyle/>
        <a:p>
          <a:endParaRPr lang="en-US"/>
        </a:p>
      </dgm:t>
    </dgm:pt>
    <dgm:pt modelId="{AEDC7120-FE6F-49D8-95F2-AB1B2B6AC9A8}" type="pres">
      <dgm:prSet presAssocID="{F0BD47AB-7AC9-40A2-A96D-1A911EFDE7FF}" presName="Name37" presStyleLbl="parChTrans1D3" presStyleIdx="7" presStyleCnt="9"/>
      <dgm:spPr/>
      <dgm:t>
        <a:bodyPr/>
        <a:lstStyle/>
        <a:p>
          <a:endParaRPr lang="en-US"/>
        </a:p>
      </dgm:t>
    </dgm:pt>
    <dgm:pt modelId="{F65159AB-B6AE-4C58-BE85-DB4966F15FBA}" type="pres">
      <dgm:prSet presAssocID="{A240A1E1-162D-4A6E-A806-B6FF45B3AB68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4413A7CD-B07B-4481-95F7-63264BEB8326}" type="pres">
      <dgm:prSet presAssocID="{A240A1E1-162D-4A6E-A806-B6FF45B3AB68}" presName="rootComposite" presStyleCnt="0"/>
      <dgm:spPr/>
      <dgm:t>
        <a:bodyPr/>
        <a:lstStyle/>
        <a:p>
          <a:endParaRPr lang="en-US"/>
        </a:p>
      </dgm:t>
    </dgm:pt>
    <dgm:pt modelId="{6E033C69-6BA8-4812-AE4E-0022A986E944}" type="pres">
      <dgm:prSet presAssocID="{A240A1E1-162D-4A6E-A806-B6FF45B3AB68}" presName="rootText" presStyleLbl="node3" presStyleIdx="7" presStyleCnt="9" custScaleX="177156" custLinFactX="490" custLinFactY="41635" custLinFactNeighborX="1000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0C564F4-BF5C-4321-B86B-65391CEDEFC7}" type="pres">
      <dgm:prSet presAssocID="{A240A1E1-162D-4A6E-A806-B6FF45B3AB68}" presName="rootConnector" presStyleLbl="node3" presStyleIdx="7" presStyleCnt="9"/>
      <dgm:spPr/>
      <dgm:t>
        <a:bodyPr/>
        <a:lstStyle/>
        <a:p>
          <a:endParaRPr lang="en-US"/>
        </a:p>
      </dgm:t>
    </dgm:pt>
    <dgm:pt modelId="{7C0A51FE-5187-4FBA-A9F6-DFFAA1B3DD3E}" type="pres">
      <dgm:prSet presAssocID="{A240A1E1-162D-4A6E-A806-B6FF45B3AB68}" presName="hierChild4" presStyleCnt="0"/>
      <dgm:spPr/>
      <dgm:t>
        <a:bodyPr/>
        <a:lstStyle/>
        <a:p>
          <a:endParaRPr lang="en-US"/>
        </a:p>
      </dgm:t>
    </dgm:pt>
    <dgm:pt modelId="{A5F1F6CB-B812-4FEA-ACD0-E838992C8274}" type="pres">
      <dgm:prSet presAssocID="{A240A1E1-162D-4A6E-A806-B6FF45B3AB68}" presName="hierChild5" presStyleCnt="0"/>
      <dgm:spPr/>
      <dgm:t>
        <a:bodyPr/>
        <a:lstStyle/>
        <a:p>
          <a:endParaRPr lang="en-US"/>
        </a:p>
      </dgm:t>
    </dgm:pt>
    <dgm:pt modelId="{28E82B1A-B1F2-4CC5-9B64-B60015CBF624}" type="pres">
      <dgm:prSet presAssocID="{A60BCA66-49BB-4275-9110-8B471B3FC59B}" presName="Name37" presStyleLbl="parChTrans1D3" presStyleIdx="8" presStyleCnt="9"/>
      <dgm:spPr/>
      <dgm:t>
        <a:bodyPr/>
        <a:lstStyle/>
        <a:p>
          <a:endParaRPr lang="en-US"/>
        </a:p>
      </dgm:t>
    </dgm:pt>
    <dgm:pt modelId="{B22DAA2B-22C5-4EFA-A0A6-9AD0235D2103}" type="pres">
      <dgm:prSet presAssocID="{35016019-1F0E-47A9-A9CB-AE98C0AFCFC1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514CA667-AA27-4D37-9311-1D5D85EF643D}" type="pres">
      <dgm:prSet presAssocID="{35016019-1F0E-47A9-A9CB-AE98C0AFCFC1}" presName="rootComposite" presStyleCnt="0"/>
      <dgm:spPr/>
      <dgm:t>
        <a:bodyPr/>
        <a:lstStyle/>
        <a:p>
          <a:endParaRPr lang="en-US"/>
        </a:p>
      </dgm:t>
    </dgm:pt>
    <dgm:pt modelId="{428A54D9-43F6-47B6-B3A2-FDCE09CB5A97}" type="pres">
      <dgm:prSet presAssocID="{35016019-1F0E-47A9-A9CB-AE98C0AFCFC1}" presName="rootText" presStyleLbl="node3" presStyleIdx="8" presStyleCnt="9" custScaleX="177156" custLinFactX="490" custLinFactY="46741" custLinFactNeighborX="1000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1DAB6FE-4097-4695-9397-7DCCE262634B}" type="pres">
      <dgm:prSet presAssocID="{35016019-1F0E-47A9-A9CB-AE98C0AFCFC1}" presName="rootConnector" presStyleLbl="node3" presStyleIdx="8" presStyleCnt="9"/>
      <dgm:spPr/>
      <dgm:t>
        <a:bodyPr/>
        <a:lstStyle/>
        <a:p>
          <a:endParaRPr lang="en-US"/>
        </a:p>
      </dgm:t>
    </dgm:pt>
    <dgm:pt modelId="{F4CC167B-F2F2-455C-9A45-823F18AFEF9A}" type="pres">
      <dgm:prSet presAssocID="{35016019-1F0E-47A9-A9CB-AE98C0AFCFC1}" presName="hierChild4" presStyleCnt="0"/>
      <dgm:spPr/>
      <dgm:t>
        <a:bodyPr/>
        <a:lstStyle/>
        <a:p>
          <a:endParaRPr lang="en-US"/>
        </a:p>
      </dgm:t>
    </dgm:pt>
    <dgm:pt modelId="{A5D0575B-48E0-4A98-88E8-8B4961A6F762}" type="pres">
      <dgm:prSet presAssocID="{35016019-1F0E-47A9-A9CB-AE98C0AFCFC1}" presName="hierChild5" presStyleCnt="0"/>
      <dgm:spPr/>
      <dgm:t>
        <a:bodyPr/>
        <a:lstStyle/>
        <a:p>
          <a:endParaRPr lang="en-US"/>
        </a:p>
      </dgm:t>
    </dgm:pt>
    <dgm:pt modelId="{528156B2-647C-44D5-ABAD-EBDCDF85B348}" type="pres">
      <dgm:prSet presAssocID="{1CE2D78B-C788-472A-8424-7F9A4AB5205E}" presName="hierChild5" presStyleCnt="0"/>
      <dgm:spPr/>
      <dgm:t>
        <a:bodyPr/>
        <a:lstStyle/>
        <a:p>
          <a:endParaRPr lang="en-US"/>
        </a:p>
      </dgm:t>
    </dgm:pt>
    <dgm:pt modelId="{B87F60ED-85BE-4872-BA6E-CDCB9CBDC6A3}" type="pres">
      <dgm:prSet presAssocID="{43BDC9E6-B3ED-4E11-B81F-A36F96CA06AD}" presName="hierChild3" presStyleCnt="0"/>
      <dgm:spPr/>
      <dgm:t>
        <a:bodyPr/>
        <a:lstStyle/>
        <a:p>
          <a:endParaRPr lang="en-US"/>
        </a:p>
      </dgm:t>
    </dgm:pt>
  </dgm:ptLst>
  <dgm:cxnLst>
    <dgm:cxn modelId="{80F791BB-560E-49C3-84DA-6A235538613C}" type="presOf" srcId="{5AFDEC37-303D-4C39-871D-86C74E419A23}" destId="{52F34D39-2854-4551-9A6B-77D1ED85C57F}" srcOrd="1" destOrd="0" presId="urn:microsoft.com/office/officeart/2005/8/layout/orgChart1"/>
    <dgm:cxn modelId="{82584538-FC88-40ED-AE0B-D941AEC25F6D}" type="presOf" srcId="{1CE2D78B-C788-472A-8424-7F9A4AB5205E}" destId="{6D7B6648-0B7F-4E1F-B6C5-CE0E2F04B9FF}" srcOrd="1" destOrd="0" presId="urn:microsoft.com/office/officeart/2005/8/layout/orgChart1"/>
    <dgm:cxn modelId="{C7B12242-93F1-42B1-8149-73B2BE7E9DC0}" srcId="{843E3B21-DC9F-4CF8-A7F1-93BF704E47A7}" destId="{720AE7B9-47AD-4FF9-8447-DF1B8C5FD193}" srcOrd="0" destOrd="0" parTransId="{3722DDF4-26E2-4422-A516-DEEAC3ECF65B}" sibTransId="{D7F902F3-F976-415B-98C3-59057320C539}"/>
    <dgm:cxn modelId="{5BAEC99E-2154-4027-802D-CAD82C79AA93}" type="presOf" srcId="{F0BD47AB-7AC9-40A2-A96D-1A911EFDE7FF}" destId="{AEDC7120-FE6F-49D8-95F2-AB1B2B6AC9A8}" srcOrd="0" destOrd="0" presId="urn:microsoft.com/office/officeart/2005/8/layout/orgChart1"/>
    <dgm:cxn modelId="{45382E37-CEC1-4C56-B99B-B03BD38C696B}" type="presOf" srcId="{43BDC9E6-B3ED-4E11-B81F-A36F96CA06AD}" destId="{6EF86BC6-06CE-4768-9942-F4420543D5EE}" srcOrd="1" destOrd="0" presId="urn:microsoft.com/office/officeart/2005/8/layout/orgChart1"/>
    <dgm:cxn modelId="{EF17C288-FABF-470A-9F6E-6F1AC60C08BE}" srcId="{E420C67E-C4C2-476B-9B47-FFB47D587009}" destId="{0216D3CF-84E5-4443-8082-6C6C297E9A4D}" srcOrd="0" destOrd="0" parTransId="{C3334397-F4C9-43FD-9DE7-786437A51BF8}" sibTransId="{9C27E3D0-AEBB-4C4C-AFEA-8F9AF608B21E}"/>
    <dgm:cxn modelId="{4C242FA4-9D07-44FB-AB7B-6E7115CDDADD}" type="presOf" srcId="{A26E1133-27F8-42A1-91FE-23383B9ACC99}" destId="{E9F5810C-05C5-4937-8779-609DD6BD5CFD}" srcOrd="0" destOrd="0" presId="urn:microsoft.com/office/officeart/2005/8/layout/orgChart1"/>
    <dgm:cxn modelId="{C9143DA8-854F-4375-91D6-04773238F9A4}" type="presOf" srcId="{EF032B47-594B-4FE2-82AA-11F85DCB3B05}" destId="{6262AD45-37CE-4E4E-81E1-98A75BFFED33}" srcOrd="0" destOrd="0" presId="urn:microsoft.com/office/officeart/2005/8/layout/orgChart1"/>
    <dgm:cxn modelId="{5FCB6B65-CD76-42C8-A467-AE11C051F909}" type="presOf" srcId="{0216D3CF-84E5-4443-8082-6C6C297E9A4D}" destId="{CF9F174C-7D69-49F6-A7FE-7ED9990EB82A}" srcOrd="1" destOrd="0" presId="urn:microsoft.com/office/officeart/2005/8/layout/orgChart1"/>
    <dgm:cxn modelId="{0A4F78ED-994E-4775-9792-4F8AFB843E13}" srcId="{843E3B21-DC9F-4CF8-A7F1-93BF704E47A7}" destId="{952DAF52-AE68-4172-A6FB-BEC966E0D344}" srcOrd="4" destOrd="0" parTransId="{E5A2EAE4-118D-44B2-B409-8CEB91FA5E76}" sibTransId="{9F184476-99DB-4158-BA52-C9F0136CB0E4}"/>
    <dgm:cxn modelId="{E040E2E2-F016-4F82-9927-EA3D62DA0F57}" srcId="{A26E1133-27F8-42A1-91FE-23383B9ACC99}" destId="{43BDC9E6-B3ED-4E11-B81F-A36F96CA06AD}" srcOrd="0" destOrd="0" parTransId="{818B4425-229C-4D05-BD73-F2583AB7B9C5}" sibTransId="{A3D2AA9D-1D2C-45CA-9A99-0FD9E343747F}"/>
    <dgm:cxn modelId="{53171CF5-760D-4A63-A975-049DE7B8E619}" type="presOf" srcId="{9B931718-FC68-4B2E-9854-492BCFE6FE83}" destId="{700B55C8-272E-490B-AB5F-A5C6369E8C79}" srcOrd="1" destOrd="0" presId="urn:microsoft.com/office/officeart/2005/8/layout/orgChart1"/>
    <dgm:cxn modelId="{14AAF4C9-A29D-485E-BFE4-5B3D1261DFAB}" type="presOf" srcId="{A240A1E1-162D-4A6E-A806-B6FF45B3AB68}" destId="{20C564F4-BF5C-4321-B86B-65391CEDEFC7}" srcOrd="1" destOrd="0" presId="urn:microsoft.com/office/officeart/2005/8/layout/orgChart1"/>
    <dgm:cxn modelId="{9FB7C984-D0CB-4CD9-94D3-D690553A94CA}" type="presOf" srcId="{65D088B7-B36E-49AA-84B9-2BC51B326EA1}" destId="{96956835-3386-449C-A89B-65F7C680246D}" srcOrd="0" destOrd="0" presId="urn:microsoft.com/office/officeart/2005/8/layout/orgChart1"/>
    <dgm:cxn modelId="{DD624A09-8C2C-43AF-84C1-7A681594F802}" type="presOf" srcId="{9B931718-FC68-4B2E-9854-492BCFE6FE83}" destId="{984A4F3B-0A00-4E5A-9092-1922B8A7FAB3}" srcOrd="0" destOrd="0" presId="urn:microsoft.com/office/officeart/2005/8/layout/orgChart1"/>
    <dgm:cxn modelId="{534BD24E-54E5-437E-BFD7-254EC50ACA10}" type="presOf" srcId="{3EEFE082-C4FA-499A-BA01-E4B8217A4B73}" destId="{A3BC68A0-CABF-4126-884C-C90818E1E26E}" srcOrd="0" destOrd="0" presId="urn:microsoft.com/office/officeart/2005/8/layout/orgChart1"/>
    <dgm:cxn modelId="{FE7B6345-594A-4433-B65B-505857124EF9}" type="presOf" srcId="{3722DDF4-26E2-4422-A516-DEEAC3ECF65B}" destId="{A83ED5F7-10A0-45C9-B814-5804FA76917E}" srcOrd="0" destOrd="0" presId="urn:microsoft.com/office/officeart/2005/8/layout/orgChart1"/>
    <dgm:cxn modelId="{A37DE609-549C-4E74-B7A5-CC0A5BA96423}" type="presOf" srcId="{A60BCA66-49BB-4275-9110-8B471B3FC59B}" destId="{28E82B1A-B1F2-4CC5-9B64-B60015CBF624}" srcOrd="0" destOrd="0" presId="urn:microsoft.com/office/officeart/2005/8/layout/orgChart1"/>
    <dgm:cxn modelId="{93B8444D-C200-443A-BE14-5B273BDC25E3}" type="presOf" srcId="{43BDC9E6-B3ED-4E11-B81F-A36F96CA06AD}" destId="{1AD90FEA-3135-49C2-A3C0-CFEDDC6405B3}" srcOrd="0" destOrd="0" presId="urn:microsoft.com/office/officeart/2005/8/layout/orgChart1"/>
    <dgm:cxn modelId="{C3A4E08C-0B25-4A04-8AD3-550D4D86E432}" srcId="{843E3B21-DC9F-4CF8-A7F1-93BF704E47A7}" destId="{5AFDEC37-303D-4C39-871D-86C74E419A23}" srcOrd="5" destOrd="0" parTransId="{38271EC2-1F65-43B3-87B0-6BB11652BC0F}" sibTransId="{157849EC-686C-46C2-98FE-E58DF03FCC11}"/>
    <dgm:cxn modelId="{D992CF9A-6D69-4FFC-90F0-92D2458ED339}" type="presOf" srcId="{E420C67E-C4C2-476B-9B47-FFB47D587009}" destId="{F0ED6141-24DB-4164-A2D4-B51E750525CD}" srcOrd="0" destOrd="0" presId="urn:microsoft.com/office/officeart/2005/8/layout/orgChart1"/>
    <dgm:cxn modelId="{9956F93E-271F-4410-93D5-5FE13054365D}" type="presOf" srcId="{6ED4E1AA-EFDD-4E70-836E-3DB36084DE98}" destId="{C137CAE9-66E1-459B-A733-9B53B02E07AF}" srcOrd="0" destOrd="0" presId="urn:microsoft.com/office/officeart/2005/8/layout/orgChart1"/>
    <dgm:cxn modelId="{F78178EB-6F90-4CA0-88DD-CD89A407B39D}" type="presOf" srcId="{0216D3CF-84E5-4443-8082-6C6C297E9A4D}" destId="{CBCDE87F-FA6C-44B8-A9C2-1E747BE7F736}" srcOrd="0" destOrd="0" presId="urn:microsoft.com/office/officeart/2005/8/layout/orgChart1"/>
    <dgm:cxn modelId="{13F89639-94CD-42AA-A823-42F4E32E46F1}" type="presOf" srcId="{359E2506-5D19-4F9C-8688-C666576175A9}" destId="{50C84909-550F-4BDC-8966-B86E5E1786AE}" srcOrd="0" destOrd="0" presId="urn:microsoft.com/office/officeart/2005/8/layout/orgChart1"/>
    <dgm:cxn modelId="{0D252A7C-EA88-478B-9AB7-96B65AE1E68A}" srcId="{43BDC9E6-B3ED-4E11-B81F-A36F96CA06AD}" destId="{1CE2D78B-C788-472A-8424-7F9A4AB5205E}" srcOrd="2" destOrd="0" parTransId="{6ED4E1AA-EFDD-4E70-836E-3DB36084DE98}" sibTransId="{1D0F051B-C9A8-457A-BE08-985EF4C28172}"/>
    <dgm:cxn modelId="{BF0DC91D-EC32-48A1-86C8-FAB69550103E}" srcId="{843E3B21-DC9F-4CF8-A7F1-93BF704E47A7}" destId="{0B5A8C4E-0287-4775-89CD-4F33BAC9506F}" srcOrd="3" destOrd="0" parTransId="{EF032B47-594B-4FE2-82AA-11F85DCB3B05}" sibTransId="{54EDCA25-2AA2-4C65-8635-EE0E2A7EF78B}"/>
    <dgm:cxn modelId="{6E2E3B55-A6EB-46D7-B7D0-04629FD4C800}" srcId="{843E3B21-DC9F-4CF8-A7F1-93BF704E47A7}" destId="{9B931718-FC68-4B2E-9854-492BCFE6FE83}" srcOrd="2" destOrd="0" parTransId="{359E2506-5D19-4F9C-8688-C666576175A9}" sibTransId="{3113A228-1208-4305-91A0-AEEDFF54B5B2}"/>
    <dgm:cxn modelId="{1A1C2EE5-C976-4BA8-8C6E-5990DF502DE0}" type="presOf" srcId="{7D7C3FA2-CE75-4B7D-A218-416906B8D917}" destId="{A77E27D0-EFD7-495B-9E1A-5A5371B8AB84}" srcOrd="0" destOrd="0" presId="urn:microsoft.com/office/officeart/2005/8/layout/orgChart1"/>
    <dgm:cxn modelId="{62BC48C4-5381-4A22-B5B2-06BA7FA43704}" type="presOf" srcId="{0B5A8C4E-0287-4775-89CD-4F33BAC9506F}" destId="{E8D3E92A-0794-4DFF-ADF5-83A9F9869BDA}" srcOrd="0" destOrd="0" presId="urn:microsoft.com/office/officeart/2005/8/layout/orgChart1"/>
    <dgm:cxn modelId="{96D621BB-80C1-4F02-A3F5-38578340C861}" type="presOf" srcId="{843E3B21-DC9F-4CF8-A7F1-93BF704E47A7}" destId="{AB22B6A5-BFAD-4E5F-BED0-C002FA69FEEF}" srcOrd="1" destOrd="0" presId="urn:microsoft.com/office/officeart/2005/8/layout/orgChart1"/>
    <dgm:cxn modelId="{5C23009D-2CFA-4196-BC78-AB5EC841C9CF}" type="presOf" srcId="{35016019-1F0E-47A9-A9CB-AE98C0AFCFC1}" destId="{428A54D9-43F6-47B6-B3A2-FDCE09CB5A97}" srcOrd="0" destOrd="0" presId="urn:microsoft.com/office/officeart/2005/8/layout/orgChart1"/>
    <dgm:cxn modelId="{2CEE448C-DF95-4D7E-BB33-A207829CCEEA}" type="presOf" srcId="{A240A1E1-162D-4A6E-A806-B6FF45B3AB68}" destId="{6E033C69-6BA8-4812-AE4E-0022A986E944}" srcOrd="0" destOrd="0" presId="urn:microsoft.com/office/officeart/2005/8/layout/orgChart1"/>
    <dgm:cxn modelId="{E6C07E4D-5176-416F-9F8B-3BBF4BF6CF56}" type="presOf" srcId="{952DAF52-AE68-4172-A6FB-BEC966E0D344}" destId="{D14B7165-E531-4D80-8A5A-747F5271B944}" srcOrd="1" destOrd="0" presId="urn:microsoft.com/office/officeart/2005/8/layout/orgChart1"/>
    <dgm:cxn modelId="{2648CEB6-4DB9-42A6-B700-4831395E15AC}" srcId="{843E3B21-DC9F-4CF8-A7F1-93BF704E47A7}" destId="{7D7C3FA2-CE75-4B7D-A218-416906B8D917}" srcOrd="1" destOrd="0" parTransId="{14236E25-24F5-4DBC-8E23-FED5A30DEF0E}" sibTransId="{FB40D391-DB77-4C2C-BDCE-7A207CEAE6FE}"/>
    <dgm:cxn modelId="{F235352C-36A4-4E3C-BF56-10DFD0D58C3A}" type="presOf" srcId="{720AE7B9-47AD-4FF9-8447-DF1B8C5FD193}" destId="{1064D61A-5C37-497D-A6F5-6312AB6E3F5A}" srcOrd="0" destOrd="0" presId="urn:microsoft.com/office/officeart/2005/8/layout/orgChart1"/>
    <dgm:cxn modelId="{674E59DD-8390-4E74-8260-9FC896AC72A0}" type="presOf" srcId="{1CE2D78B-C788-472A-8424-7F9A4AB5205E}" destId="{A5F2589C-C16C-45F2-9A3D-F2A6CB2476D1}" srcOrd="0" destOrd="0" presId="urn:microsoft.com/office/officeart/2005/8/layout/orgChart1"/>
    <dgm:cxn modelId="{0364539D-B427-4DCA-BEEF-E899D954FA5D}" type="presOf" srcId="{E5A2EAE4-118D-44B2-B409-8CEB91FA5E76}" destId="{0AD99682-343B-4485-A14B-DE65F037093C}" srcOrd="0" destOrd="0" presId="urn:microsoft.com/office/officeart/2005/8/layout/orgChart1"/>
    <dgm:cxn modelId="{7CFE7F9F-9257-406D-AE9C-287A1C80E517}" type="presOf" srcId="{952DAF52-AE68-4172-A6FB-BEC966E0D344}" destId="{A3E484CC-77C3-47AE-B304-C3AADDD9ACD2}" srcOrd="0" destOrd="0" presId="urn:microsoft.com/office/officeart/2005/8/layout/orgChart1"/>
    <dgm:cxn modelId="{A8C3467D-1EB9-4783-9690-E3640ABAA4BB}" type="presOf" srcId="{0B5A8C4E-0287-4775-89CD-4F33BAC9506F}" destId="{E4F391C2-584B-4F01-9A6E-BB77AA2A997A}" srcOrd="1" destOrd="0" presId="urn:microsoft.com/office/officeart/2005/8/layout/orgChart1"/>
    <dgm:cxn modelId="{989F0EF4-F340-4F9F-A777-7BB8DA42A35F}" type="presOf" srcId="{38271EC2-1F65-43B3-87B0-6BB11652BC0F}" destId="{590C0E8E-9146-4FF8-9E81-E2F73D38D307}" srcOrd="0" destOrd="0" presId="urn:microsoft.com/office/officeart/2005/8/layout/orgChart1"/>
    <dgm:cxn modelId="{A1EA3300-1EF2-4408-A534-FF6A5C3E2BCA}" type="presOf" srcId="{5AFDEC37-303D-4C39-871D-86C74E419A23}" destId="{BFAB0065-46B4-4707-8B1B-5AD5D852CD73}" srcOrd="0" destOrd="0" presId="urn:microsoft.com/office/officeart/2005/8/layout/orgChart1"/>
    <dgm:cxn modelId="{63B5A9B9-5DF2-4F9F-8D05-950FCB390270}" type="presOf" srcId="{C3334397-F4C9-43FD-9DE7-786437A51BF8}" destId="{CC07306D-4BD7-4477-BB61-A954489058D6}" srcOrd="0" destOrd="0" presId="urn:microsoft.com/office/officeart/2005/8/layout/orgChart1"/>
    <dgm:cxn modelId="{37C1DA9B-536E-4425-993E-F11AE5573D82}" type="presOf" srcId="{35016019-1F0E-47A9-A9CB-AE98C0AFCFC1}" destId="{31DAB6FE-4097-4695-9397-7DCCE262634B}" srcOrd="1" destOrd="0" presId="urn:microsoft.com/office/officeart/2005/8/layout/orgChart1"/>
    <dgm:cxn modelId="{33AD16DE-8B0C-4A31-BA1C-820451A36D72}" type="presOf" srcId="{E420C67E-C4C2-476B-9B47-FFB47D587009}" destId="{45256018-C335-4CDB-9EC5-7AE2ABAC1E00}" srcOrd="1" destOrd="0" presId="urn:microsoft.com/office/officeart/2005/8/layout/orgChart1"/>
    <dgm:cxn modelId="{2AC6A1A2-FDAF-4C07-BF93-78DC05214544}" srcId="{43BDC9E6-B3ED-4E11-B81F-A36F96CA06AD}" destId="{E420C67E-C4C2-476B-9B47-FFB47D587009}" srcOrd="1" destOrd="0" parTransId="{65D088B7-B36E-49AA-84B9-2BC51B326EA1}" sibTransId="{7CC715FB-928E-4CFE-A8F5-045F16B2D743}"/>
    <dgm:cxn modelId="{474B1141-415B-4063-8CCB-84A68082574B}" type="presOf" srcId="{7D7C3FA2-CE75-4B7D-A218-416906B8D917}" destId="{63F8734B-291F-4EE9-8AEC-5D7130065FE8}" srcOrd="1" destOrd="0" presId="urn:microsoft.com/office/officeart/2005/8/layout/orgChart1"/>
    <dgm:cxn modelId="{DF2DA764-EBDC-42FB-858F-15B46D66137A}" type="presOf" srcId="{720AE7B9-47AD-4FF9-8447-DF1B8C5FD193}" destId="{1D0BA542-EABF-46D4-A11D-8954A50A4A27}" srcOrd="1" destOrd="0" presId="urn:microsoft.com/office/officeart/2005/8/layout/orgChart1"/>
    <dgm:cxn modelId="{F0C0AED6-3BFB-430A-84C4-C1842ECA49F1}" srcId="{1CE2D78B-C788-472A-8424-7F9A4AB5205E}" destId="{35016019-1F0E-47A9-A9CB-AE98C0AFCFC1}" srcOrd="1" destOrd="0" parTransId="{A60BCA66-49BB-4275-9110-8B471B3FC59B}" sibTransId="{549EC933-326F-43C6-A4AD-B0C6604A5CF9}"/>
    <dgm:cxn modelId="{CCB5AE26-70F4-4C5B-B53D-136E39A12AC5}" srcId="{1CE2D78B-C788-472A-8424-7F9A4AB5205E}" destId="{A240A1E1-162D-4A6E-A806-B6FF45B3AB68}" srcOrd="0" destOrd="0" parTransId="{F0BD47AB-7AC9-40A2-A96D-1A911EFDE7FF}" sibTransId="{A12D77FB-8453-4F78-A007-65AD68966259}"/>
    <dgm:cxn modelId="{1DFAFD31-5EF2-4F17-898E-4589587A11F2}" type="presOf" srcId="{14236E25-24F5-4DBC-8E23-FED5A30DEF0E}" destId="{A2B3E9C0-0CE1-4B88-9E71-F7CE1A7F99D7}" srcOrd="0" destOrd="0" presId="urn:microsoft.com/office/officeart/2005/8/layout/orgChart1"/>
    <dgm:cxn modelId="{3C110BFF-FD87-473E-9985-0D9D761E60BD}" srcId="{43BDC9E6-B3ED-4E11-B81F-A36F96CA06AD}" destId="{843E3B21-DC9F-4CF8-A7F1-93BF704E47A7}" srcOrd="0" destOrd="0" parTransId="{3EEFE082-C4FA-499A-BA01-E4B8217A4B73}" sibTransId="{2992CB8F-FBF4-486F-BE86-7AEC96D28238}"/>
    <dgm:cxn modelId="{3050D8E1-9CD7-46BF-901B-FC65DCE4ABD3}" type="presOf" srcId="{843E3B21-DC9F-4CF8-A7F1-93BF704E47A7}" destId="{5E5C4910-D5C2-4117-9825-0F4E2308A1D4}" srcOrd="0" destOrd="0" presId="urn:microsoft.com/office/officeart/2005/8/layout/orgChart1"/>
    <dgm:cxn modelId="{892078F9-A1E5-4447-B54C-14C4157073F6}" type="presParOf" srcId="{E9F5810C-05C5-4937-8779-609DD6BD5CFD}" destId="{25A00B3E-FEA8-439F-999E-8DB6BC95DBC0}" srcOrd="0" destOrd="0" presId="urn:microsoft.com/office/officeart/2005/8/layout/orgChart1"/>
    <dgm:cxn modelId="{3C105388-A3C5-4580-BB48-FCDA972252F6}" type="presParOf" srcId="{25A00B3E-FEA8-439F-999E-8DB6BC95DBC0}" destId="{305CB9B7-E4C6-453D-AC39-1DA3FA25C576}" srcOrd="0" destOrd="0" presId="urn:microsoft.com/office/officeart/2005/8/layout/orgChart1"/>
    <dgm:cxn modelId="{CBC0358F-8DEE-4D96-BAED-7266E971C715}" type="presParOf" srcId="{305CB9B7-E4C6-453D-AC39-1DA3FA25C576}" destId="{1AD90FEA-3135-49C2-A3C0-CFEDDC6405B3}" srcOrd="0" destOrd="0" presId="urn:microsoft.com/office/officeart/2005/8/layout/orgChart1"/>
    <dgm:cxn modelId="{4CF743F5-DD5D-4D49-84E7-1D16D0C3B4D0}" type="presParOf" srcId="{305CB9B7-E4C6-453D-AC39-1DA3FA25C576}" destId="{6EF86BC6-06CE-4768-9942-F4420543D5EE}" srcOrd="1" destOrd="0" presId="urn:microsoft.com/office/officeart/2005/8/layout/orgChart1"/>
    <dgm:cxn modelId="{2683DDAE-8967-4F3F-9D3A-C10087CA25F6}" type="presParOf" srcId="{25A00B3E-FEA8-439F-999E-8DB6BC95DBC0}" destId="{EC72B6B4-B63E-4FE2-8CC2-5FA221770366}" srcOrd="1" destOrd="0" presId="urn:microsoft.com/office/officeart/2005/8/layout/orgChart1"/>
    <dgm:cxn modelId="{6F0426C1-B9D8-4DE1-9048-C6A5B7151C51}" type="presParOf" srcId="{EC72B6B4-B63E-4FE2-8CC2-5FA221770366}" destId="{A3BC68A0-CABF-4126-884C-C90818E1E26E}" srcOrd="0" destOrd="0" presId="urn:microsoft.com/office/officeart/2005/8/layout/orgChart1"/>
    <dgm:cxn modelId="{B8AAE281-D58A-4CC9-BCB9-74EC2BC71912}" type="presParOf" srcId="{EC72B6B4-B63E-4FE2-8CC2-5FA221770366}" destId="{9B84C5AA-6259-445A-8F7A-6D366FCBB4AD}" srcOrd="1" destOrd="0" presId="urn:microsoft.com/office/officeart/2005/8/layout/orgChart1"/>
    <dgm:cxn modelId="{E5690179-9F05-438F-A300-5C05C2B55210}" type="presParOf" srcId="{9B84C5AA-6259-445A-8F7A-6D366FCBB4AD}" destId="{F324FB99-E565-440D-9319-A2867DA87756}" srcOrd="0" destOrd="0" presId="urn:microsoft.com/office/officeart/2005/8/layout/orgChart1"/>
    <dgm:cxn modelId="{282836C7-7BC9-4B50-BA73-17514F9F50AE}" type="presParOf" srcId="{F324FB99-E565-440D-9319-A2867DA87756}" destId="{5E5C4910-D5C2-4117-9825-0F4E2308A1D4}" srcOrd="0" destOrd="0" presId="urn:microsoft.com/office/officeart/2005/8/layout/orgChart1"/>
    <dgm:cxn modelId="{66B3EBCB-7558-44B2-9A5C-32A2E57F08B2}" type="presParOf" srcId="{F324FB99-E565-440D-9319-A2867DA87756}" destId="{AB22B6A5-BFAD-4E5F-BED0-C002FA69FEEF}" srcOrd="1" destOrd="0" presId="urn:microsoft.com/office/officeart/2005/8/layout/orgChart1"/>
    <dgm:cxn modelId="{8927D171-53E5-4A7B-B9D8-8A36CE51A57C}" type="presParOf" srcId="{9B84C5AA-6259-445A-8F7A-6D366FCBB4AD}" destId="{16186025-4BC6-46E2-97F6-F9084F02632D}" srcOrd="1" destOrd="0" presId="urn:microsoft.com/office/officeart/2005/8/layout/orgChart1"/>
    <dgm:cxn modelId="{877C951C-4697-4801-A06C-3CC2EC93A0E5}" type="presParOf" srcId="{16186025-4BC6-46E2-97F6-F9084F02632D}" destId="{A83ED5F7-10A0-45C9-B814-5804FA76917E}" srcOrd="0" destOrd="0" presId="urn:microsoft.com/office/officeart/2005/8/layout/orgChart1"/>
    <dgm:cxn modelId="{796F16A6-0702-4DEA-A026-0E7EB1A4D818}" type="presParOf" srcId="{16186025-4BC6-46E2-97F6-F9084F02632D}" destId="{D44CFE56-6231-4D51-BDF4-F9842887D455}" srcOrd="1" destOrd="0" presId="urn:microsoft.com/office/officeart/2005/8/layout/orgChart1"/>
    <dgm:cxn modelId="{A4B19161-FAB7-4121-BDAC-BD0D9860AD10}" type="presParOf" srcId="{D44CFE56-6231-4D51-BDF4-F9842887D455}" destId="{F340CB26-8421-44AC-9592-9BB7E87D96B8}" srcOrd="0" destOrd="0" presId="urn:microsoft.com/office/officeart/2005/8/layout/orgChart1"/>
    <dgm:cxn modelId="{1EA02C45-C013-40A5-B9F2-BEA9CB387DD3}" type="presParOf" srcId="{F340CB26-8421-44AC-9592-9BB7E87D96B8}" destId="{1064D61A-5C37-497D-A6F5-6312AB6E3F5A}" srcOrd="0" destOrd="0" presId="urn:microsoft.com/office/officeart/2005/8/layout/orgChart1"/>
    <dgm:cxn modelId="{34470F07-4754-4F60-9A05-8E0BACA8529C}" type="presParOf" srcId="{F340CB26-8421-44AC-9592-9BB7E87D96B8}" destId="{1D0BA542-EABF-46D4-A11D-8954A50A4A27}" srcOrd="1" destOrd="0" presId="urn:microsoft.com/office/officeart/2005/8/layout/orgChart1"/>
    <dgm:cxn modelId="{E401F59C-0478-43C7-B467-941938A30929}" type="presParOf" srcId="{D44CFE56-6231-4D51-BDF4-F9842887D455}" destId="{CB5479DD-BB83-4A7F-A8FE-0204BBEBDE57}" srcOrd="1" destOrd="0" presId="urn:microsoft.com/office/officeart/2005/8/layout/orgChart1"/>
    <dgm:cxn modelId="{99915CF3-23F7-4DC6-BC7B-924D9E5E0D81}" type="presParOf" srcId="{D44CFE56-6231-4D51-BDF4-F9842887D455}" destId="{72F3B94E-5E2C-4DF9-BCD5-3D635951032C}" srcOrd="2" destOrd="0" presId="urn:microsoft.com/office/officeart/2005/8/layout/orgChart1"/>
    <dgm:cxn modelId="{57986329-4CFF-4C91-9A7E-059BE7866AA4}" type="presParOf" srcId="{16186025-4BC6-46E2-97F6-F9084F02632D}" destId="{A2B3E9C0-0CE1-4B88-9E71-F7CE1A7F99D7}" srcOrd="2" destOrd="0" presId="urn:microsoft.com/office/officeart/2005/8/layout/orgChart1"/>
    <dgm:cxn modelId="{181C97FA-C06F-4073-9995-D7176DA1772F}" type="presParOf" srcId="{16186025-4BC6-46E2-97F6-F9084F02632D}" destId="{16797127-63BB-4E8C-8005-5E72B3FF9B3C}" srcOrd="3" destOrd="0" presId="urn:microsoft.com/office/officeart/2005/8/layout/orgChart1"/>
    <dgm:cxn modelId="{D05CE770-A625-4017-ADBB-D287CC7E9B9D}" type="presParOf" srcId="{16797127-63BB-4E8C-8005-5E72B3FF9B3C}" destId="{4DFEF789-40AF-4966-81EA-F7C1CBE52773}" srcOrd="0" destOrd="0" presId="urn:microsoft.com/office/officeart/2005/8/layout/orgChart1"/>
    <dgm:cxn modelId="{EBFD4717-34FC-45F3-91E7-24D56F6394CC}" type="presParOf" srcId="{4DFEF789-40AF-4966-81EA-F7C1CBE52773}" destId="{A77E27D0-EFD7-495B-9E1A-5A5371B8AB84}" srcOrd="0" destOrd="0" presId="urn:microsoft.com/office/officeart/2005/8/layout/orgChart1"/>
    <dgm:cxn modelId="{B05A4D4A-5ED1-48B4-A374-734F4AF68C0E}" type="presParOf" srcId="{4DFEF789-40AF-4966-81EA-F7C1CBE52773}" destId="{63F8734B-291F-4EE9-8AEC-5D7130065FE8}" srcOrd="1" destOrd="0" presId="urn:microsoft.com/office/officeart/2005/8/layout/orgChart1"/>
    <dgm:cxn modelId="{CA87B63C-E6B1-48BB-8420-074C823B2FDA}" type="presParOf" srcId="{16797127-63BB-4E8C-8005-5E72B3FF9B3C}" destId="{F1241E53-1837-4666-9A60-B6AD42958195}" srcOrd="1" destOrd="0" presId="urn:microsoft.com/office/officeart/2005/8/layout/orgChart1"/>
    <dgm:cxn modelId="{1F2780C0-4FB5-421A-AC21-7C932F64C6A0}" type="presParOf" srcId="{16797127-63BB-4E8C-8005-5E72B3FF9B3C}" destId="{E1079AD2-0C8E-44F0-9596-6D504E6161CE}" srcOrd="2" destOrd="0" presId="urn:microsoft.com/office/officeart/2005/8/layout/orgChart1"/>
    <dgm:cxn modelId="{B23B1C0B-4064-4617-9B81-BE9D69AB7567}" type="presParOf" srcId="{16186025-4BC6-46E2-97F6-F9084F02632D}" destId="{50C84909-550F-4BDC-8966-B86E5E1786AE}" srcOrd="4" destOrd="0" presId="urn:microsoft.com/office/officeart/2005/8/layout/orgChart1"/>
    <dgm:cxn modelId="{33D88BA6-1DBD-484C-ADB3-BED47FE75720}" type="presParOf" srcId="{16186025-4BC6-46E2-97F6-F9084F02632D}" destId="{EBCAC25B-3E97-4708-AA7E-0D44E4C06B2C}" srcOrd="5" destOrd="0" presId="urn:microsoft.com/office/officeart/2005/8/layout/orgChart1"/>
    <dgm:cxn modelId="{3550B497-BA17-4C74-A73B-C504E114BD78}" type="presParOf" srcId="{EBCAC25B-3E97-4708-AA7E-0D44E4C06B2C}" destId="{56A22D43-7DD1-46E6-B06A-D1D662EE6DAD}" srcOrd="0" destOrd="0" presId="urn:microsoft.com/office/officeart/2005/8/layout/orgChart1"/>
    <dgm:cxn modelId="{E383FF0D-818C-4E70-AF75-CE331ABD2684}" type="presParOf" srcId="{56A22D43-7DD1-46E6-B06A-D1D662EE6DAD}" destId="{984A4F3B-0A00-4E5A-9092-1922B8A7FAB3}" srcOrd="0" destOrd="0" presId="urn:microsoft.com/office/officeart/2005/8/layout/orgChart1"/>
    <dgm:cxn modelId="{7791B209-007C-40AD-ACF3-C6CE6A88B26A}" type="presParOf" srcId="{56A22D43-7DD1-46E6-B06A-D1D662EE6DAD}" destId="{700B55C8-272E-490B-AB5F-A5C6369E8C79}" srcOrd="1" destOrd="0" presId="urn:microsoft.com/office/officeart/2005/8/layout/orgChart1"/>
    <dgm:cxn modelId="{9B779757-67C1-4C75-8BF9-6E75CD3DE739}" type="presParOf" srcId="{EBCAC25B-3E97-4708-AA7E-0D44E4C06B2C}" destId="{18D6C1B6-F902-4ABE-BB60-086B907C1C3A}" srcOrd="1" destOrd="0" presId="urn:microsoft.com/office/officeart/2005/8/layout/orgChart1"/>
    <dgm:cxn modelId="{BBC362D3-6FF8-4C04-BA83-1132DAAF9997}" type="presParOf" srcId="{EBCAC25B-3E97-4708-AA7E-0D44E4C06B2C}" destId="{4E3F742A-A2F5-4971-A026-90DA3CFE956C}" srcOrd="2" destOrd="0" presId="urn:microsoft.com/office/officeart/2005/8/layout/orgChart1"/>
    <dgm:cxn modelId="{9E0337DB-FC72-4463-9D39-28C5891D707A}" type="presParOf" srcId="{16186025-4BC6-46E2-97F6-F9084F02632D}" destId="{6262AD45-37CE-4E4E-81E1-98A75BFFED33}" srcOrd="6" destOrd="0" presId="urn:microsoft.com/office/officeart/2005/8/layout/orgChart1"/>
    <dgm:cxn modelId="{36344ED4-112A-4DFC-9CE7-615F9825CDEC}" type="presParOf" srcId="{16186025-4BC6-46E2-97F6-F9084F02632D}" destId="{3BDA7C33-CC97-412E-A3EC-9F252E4F5A5A}" srcOrd="7" destOrd="0" presId="urn:microsoft.com/office/officeart/2005/8/layout/orgChart1"/>
    <dgm:cxn modelId="{81117EE8-C437-482B-8AA9-4E2EFF37F472}" type="presParOf" srcId="{3BDA7C33-CC97-412E-A3EC-9F252E4F5A5A}" destId="{2723E1CD-4CEE-4F07-87CD-20B12A8FC827}" srcOrd="0" destOrd="0" presId="urn:microsoft.com/office/officeart/2005/8/layout/orgChart1"/>
    <dgm:cxn modelId="{9922A1D6-A256-4291-986D-7B1EB454D092}" type="presParOf" srcId="{2723E1CD-4CEE-4F07-87CD-20B12A8FC827}" destId="{E8D3E92A-0794-4DFF-ADF5-83A9F9869BDA}" srcOrd="0" destOrd="0" presId="urn:microsoft.com/office/officeart/2005/8/layout/orgChart1"/>
    <dgm:cxn modelId="{77673F69-C0EA-479F-8ABE-39EA5442D55A}" type="presParOf" srcId="{2723E1CD-4CEE-4F07-87CD-20B12A8FC827}" destId="{E4F391C2-584B-4F01-9A6E-BB77AA2A997A}" srcOrd="1" destOrd="0" presId="urn:microsoft.com/office/officeart/2005/8/layout/orgChart1"/>
    <dgm:cxn modelId="{AD1B51AA-380B-491D-8812-2CA2AEC2C2E4}" type="presParOf" srcId="{3BDA7C33-CC97-412E-A3EC-9F252E4F5A5A}" destId="{B2E11ABB-6C93-42E1-91A1-DB542954BA14}" srcOrd="1" destOrd="0" presId="urn:microsoft.com/office/officeart/2005/8/layout/orgChart1"/>
    <dgm:cxn modelId="{0B9A7F8F-92A9-41E9-9A9E-AA66727743BA}" type="presParOf" srcId="{3BDA7C33-CC97-412E-A3EC-9F252E4F5A5A}" destId="{7916A290-6350-41CF-9D02-42ED9408F54E}" srcOrd="2" destOrd="0" presId="urn:microsoft.com/office/officeart/2005/8/layout/orgChart1"/>
    <dgm:cxn modelId="{3E67C130-0B20-4146-9EFD-C2DC0EFABF49}" type="presParOf" srcId="{16186025-4BC6-46E2-97F6-F9084F02632D}" destId="{0AD99682-343B-4485-A14B-DE65F037093C}" srcOrd="8" destOrd="0" presId="urn:microsoft.com/office/officeart/2005/8/layout/orgChart1"/>
    <dgm:cxn modelId="{807F7D91-2DB0-4CA6-83CD-D8093492B0D7}" type="presParOf" srcId="{16186025-4BC6-46E2-97F6-F9084F02632D}" destId="{66F58E59-4021-466D-B511-8DE0ABD9D719}" srcOrd="9" destOrd="0" presId="urn:microsoft.com/office/officeart/2005/8/layout/orgChart1"/>
    <dgm:cxn modelId="{EF5B5645-A464-4231-B0E4-E6A7915DC59E}" type="presParOf" srcId="{66F58E59-4021-466D-B511-8DE0ABD9D719}" destId="{2898F04E-976D-464B-AD88-34BE6A9B7381}" srcOrd="0" destOrd="0" presId="urn:microsoft.com/office/officeart/2005/8/layout/orgChart1"/>
    <dgm:cxn modelId="{2F280126-6006-47A9-A8B5-D71E48E2A168}" type="presParOf" srcId="{2898F04E-976D-464B-AD88-34BE6A9B7381}" destId="{A3E484CC-77C3-47AE-B304-C3AADDD9ACD2}" srcOrd="0" destOrd="0" presId="urn:microsoft.com/office/officeart/2005/8/layout/orgChart1"/>
    <dgm:cxn modelId="{03C508FE-8E1E-40A1-9DE3-DD6F7B3A409C}" type="presParOf" srcId="{2898F04E-976D-464B-AD88-34BE6A9B7381}" destId="{D14B7165-E531-4D80-8A5A-747F5271B944}" srcOrd="1" destOrd="0" presId="urn:microsoft.com/office/officeart/2005/8/layout/orgChart1"/>
    <dgm:cxn modelId="{F98AB420-1936-4C19-8A05-2D08442A35D8}" type="presParOf" srcId="{66F58E59-4021-466D-B511-8DE0ABD9D719}" destId="{E6B0D5A4-884A-4729-864C-B0C32C46727A}" srcOrd="1" destOrd="0" presId="urn:microsoft.com/office/officeart/2005/8/layout/orgChart1"/>
    <dgm:cxn modelId="{45AAA416-95FD-46A6-92CC-9BC237DC3888}" type="presParOf" srcId="{66F58E59-4021-466D-B511-8DE0ABD9D719}" destId="{3C160525-5F33-4057-894A-F0C79444ED80}" srcOrd="2" destOrd="0" presId="urn:microsoft.com/office/officeart/2005/8/layout/orgChart1"/>
    <dgm:cxn modelId="{A59D982E-2547-46DF-AD44-6EC55F51B6E7}" type="presParOf" srcId="{16186025-4BC6-46E2-97F6-F9084F02632D}" destId="{590C0E8E-9146-4FF8-9E81-E2F73D38D307}" srcOrd="10" destOrd="0" presId="urn:microsoft.com/office/officeart/2005/8/layout/orgChart1"/>
    <dgm:cxn modelId="{64A9DF7A-50D6-4BEC-844C-EC5497946CA1}" type="presParOf" srcId="{16186025-4BC6-46E2-97F6-F9084F02632D}" destId="{B8D035F0-4E87-47D4-93A1-5B4102E15684}" srcOrd="11" destOrd="0" presId="urn:microsoft.com/office/officeart/2005/8/layout/orgChart1"/>
    <dgm:cxn modelId="{60FC7DEA-1707-4605-986E-B7E6D3FF20F2}" type="presParOf" srcId="{B8D035F0-4E87-47D4-93A1-5B4102E15684}" destId="{B9618333-C328-4BA9-9084-341029DCBB82}" srcOrd="0" destOrd="0" presId="urn:microsoft.com/office/officeart/2005/8/layout/orgChart1"/>
    <dgm:cxn modelId="{125601B4-02D7-41F3-A1BC-7BC47C069504}" type="presParOf" srcId="{B9618333-C328-4BA9-9084-341029DCBB82}" destId="{BFAB0065-46B4-4707-8B1B-5AD5D852CD73}" srcOrd="0" destOrd="0" presId="urn:microsoft.com/office/officeart/2005/8/layout/orgChart1"/>
    <dgm:cxn modelId="{E0876BF5-685E-4A48-82A3-7D66EA764D3F}" type="presParOf" srcId="{B9618333-C328-4BA9-9084-341029DCBB82}" destId="{52F34D39-2854-4551-9A6B-77D1ED85C57F}" srcOrd="1" destOrd="0" presId="urn:microsoft.com/office/officeart/2005/8/layout/orgChart1"/>
    <dgm:cxn modelId="{51F7B399-057B-4189-B127-089AD5DF8852}" type="presParOf" srcId="{B8D035F0-4E87-47D4-93A1-5B4102E15684}" destId="{6B99D04E-64C1-46E8-9CAF-CC329F9FE5FF}" srcOrd="1" destOrd="0" presId="urn:microsoft.com/office/officeart/2005/8/layout/orgChart1"/>
    <dgm:cxn modelId="{877CB70C-54F6-4B80-8349-693B7979608D}" type="presParOf" srcId="{B8D035F0-4E87-47D4-93A1-5B4102E15684}" destId="{6E716853-CC29-454F-B69D-A971E0A337C3}" srcOrd="2" destOrd="0" presId="urn:microsoft.com/office/officeart/2005/8/layout/orgChart1"/>
    <dgm:cxn modelId="{C6FBD0C2-C911-4D7C-BFE4-D25FBE22E5EC}" type="presParOf" srcId="{9B84C5AA-6259-445A-8F7A-6D366FCBB4AD}" destId="{82355405-192E-42E7-B905-7A6FE845C6D9}" srcOrd="2" destOrd="0" presId="urn:microsoft.com/office/officeart/2005/8/layout/orgChart1"/>
    <dgm:cxn modelId="{64C11292-E333-443F-A4F8-DCF943992F38}" type="presParOf" srcId="{EC72B6B4-B63E-4FE2-8CC2-5FA221770366}" destId="{96956835-3386-449C-A89B-65F7C680246D}" srcOrd="2" destOrd="0" presId="urn:microsoft.com/office/officeart/2005/8/layout/orgChart1"/>
    <dgm:cxn modelId="{1FFFBEF2-A1E9-4739-8D08-9936C57EF23A}" type="presParOf" srcId="{EC72B6B4-B63E-4FE2-8CC2-5FA221770366}" destId="{DBD72DFC-EF80-4973-B6E5-D3C9AB052F9E}" srcOrd="3" destOrd="0" presId="urn:microsoft.com/office/officeart/2005/8/layout/orgChart1"/>
    <dgm:cxn modelId="{994B3CCB-BFE4-41F7-AA23-1BCAD199C152}" type="presParOf" srcId="{DBD72DFC-EF80-4973-B6E5-D3C9AB052F9E}" destId="{72B31F8C-4060-4D82-8D0A-8A332812C464}" srcOrd="0" destOrd="0" presId="urn:microsoft.com/office/officeart/2005/8/layout/orgChart1"/>
    <dgm:cxn modelId="{F8E8D5FD-73E9-45E8-A78C-19F60953EC29}" type="presParOf" srcId="{72B31F8C-4060-4D82-8D0A-8A332812C464}" destId="{F0ED6141-24DB-4164-A2D4-B51E750525CD}" srcOrd="0" destOrd="0" presId="urn:microsoft.com/office/officeart/2005/8/layout/orgChart1"/>
    <dgm:cxn modelId="{7261BEE0-66DC-443C-9F47-9FC8EA985E63}" type="presParOf" srcId="{72B31F8C-4060-4D82-8D0A-8A332812C464}" destId="{45256018-C335-4CDB-9EC5-7AE2ABAC1E00}" srcOrd="1" destOrd="0" presId="urn:microsoft.com/office/officeart/2005/8/layout/orgChart1"/>
    <dgm:cxn modelId="{19E71D9E-9A4E-4E9F-BCCE-2B2849D60741}" type="presParOf" srcId="{DBD72DFC-EF80-4973-B6E5-D3C9AB052F9E}" destId="{2A7D3334-4741-4667-BCDB-1A78491B4FD4}" srcOrd="1" destOrd="0" presId="urn:microsoft.com/office/officeart/2005/8/layout/orgChart1"/>
    <dgm:cxn modelId="{0BD0F3A2-5090-42D2-BF69-7D868D11CE3F}" type="presParOf" srcId="{2A7D3334-4741-4667-BCDB-1A78491B4FD4}" destId="{CC07306D-4BD7-4477-BB61-A954489058D6}" srcOrd="0" destOrd="0" presId="urn:microsoft.com/office/officeart/2005/8/layout/orgChart1"/>
    <dgm:cxn modelId="{EF548850-FF92-4BE1-8FAB-29BDB556DEE9}" type="presParOf" srcId="{2A7D3334-4741-4667-BCDB-1A78491B4FD4}" destId="{0ECB6EE9-64D7-46FB-8A0A-B83CD370F0B4}" srcOrd="1" destOrd="0" presId="urn:microsoft.com/office/officeart/2005/8/layout/orgChart1"/>
    <dgm:cxn modelId="{0DE17A59-9D06-434F-88AC-584B598E1FAA}" type="presParOf" srcId="{0ECB6EE9-64D7-46FB-8A0A-B83CD370F0B4}" destId="{9D96850F-E3A0-4435-B942-5F48B18AC5F4}" srcOrd="0" destOrd="0" presId="urn:microsoft.com/office/officeart/2005/8/layout/orgChart1"/>
    <dgm:cxn modelId="{14524DC0-4F5C-49B4-963E-99BBDCCDEDEE}" type="presParOf" srcId="{9D96850F-E3A0-4435-B942-5F48B18AC5F4}" destId="{CBCDE87F-FA6C-44B8-A9C2-1E747BE7F736}" srcOrd="0" destOrd="0" presId="urn:microsoft.com/office/officeart/2005/8/layout/orgChart1"/>
    <dgm:cxn modelId="{AE2D34F9-8E42-4B0F-8D71-AB7AC68A3CD2}" type="presParOf" srcId="{9D96850F-E3A0-4435-B942-5F48B18AC5F4}" destId="{CF9F174C-7D69-49F6-A7FE-7ED9990EB82A}" srcOrd="1" destOrd="0" presId="urn:microsoft.com/office/officeart/2005/8/layout/orgChart1"/>
    <dgm:cxn modelId="{7F586DFB-CEC5-4F03-A245-CA355CA86F72}" type="presParOf" srcId="{0ECB6EE9-64D7-46FB-8A0A-B83CD370F0B4}" destId="{1934090D-CBAE-4AB8-9BE7-C9762145998D}" srcOrd="1" destOrd="0" presId="urn:microsoft.com/office/officeart/2005/8/layout/orgChart1"/>
    <dgm:cxn modelId="{7494766B-12CF-4EF6-B04A-C4E9554A3196}" type="presParOf" srcId="{0ECB6EE9-64D7-46FB-8A0A-B83CD370F0B4}" destId="{7BCCCAFF-8404-460B-9A5A-B8BF91057993}" srcOrd="2" destOrd="0" presId="urn:microsoft.com/office/officeart/2005/8/layout/orgChart1"/>
    <dgm:cxn modelId="{BACDFDA3-A81E-468E-91BC-1B3514CD153D}" type="presParOf" srcId="{DBD72DFC-EF80-4973-B6E5-D3C9AB052F9E}" destId="{1DBB8D6B-1EA9-448A-B87B-A162873E7B21}" srcOrd="2" destOrd="0" presId="urn:microsoft.com/office/officeart/2005/8/layout/orgChart1"/>
    <dgm:cxn modelId="{0F4512B3-0467-4946-BAFA-56EE34357494}" type="presParOf" srcId="{EC72B6B4-B63E-4FE2-8CC2-5FA221770366}" destId="{C137CAE9-66E1-459B-A733-9B53B02E07AF}" srcOrd="4" destOrd="0" presId="urn:microsoft.com/office/officeart/2005/8/layout/orgChart1"/>
    <dgm:cxn modelId="{D0A714A9-F6DE-4BB4-8FC1-B8120E2CE2C5}" type="presParOf" srcId="{EC72B6B4-B63E-4FE2-8CC2-5FA221770366}" destId="{35CBA655-D40F-4A2B-B71A-711D392B5A84}" srcOrd="5" destOrd="0" presId="urn:microsoft.com/office/officeart/2005/8/layout/orgChart1"/>
    <dgm:cxn modelId="{C8AF65AD-98E7-4121-85EA-5CFD93F78FFC}" type="presParOf" srcId="{35CBA655-D40F-4A2B-B71A-711D392B5A84}" destId="{9DC86AED-B6DB-4100-9EA0-4E60FFB4A367}" srcOrd="0" destOrd="0" presId="urn:microsoft.com/office/officeart/2005/8/layout/orgChart1"/>
    <dgm:cxn modelId="{E233A710-B52E-4C42-85DA-EB83BDD51A88}" type="presParOf" srcId="{9DC86AED-B6DB-4100-9EA0-4E60FFB4A367}" destId="{A5F2589C-C16C-45F2-9A3D-F2A6CB2476D1}" srcOrd="0" destOrd="0" presId="urn:microsoft.com/office/officeart/2005/8/layout/orgChart1"/>
    <dgm:cxn modelId="{60DD3356-4B77-40CB-ABC3-D8F7D1D0EC7C}" type="presParOf" srcId="{9DC86AED-B6DB-4100-9EA0-4E60FFB4A367}" destId="{6D7B6648-0B7F-4E1F-B6C5-CE0E2F04B9FF}" srcOrd="1" destOrd="0" presId="urn:microsoft.com/office/officeart/2005/8/layout/orgChart1"/>
    <dgm:cxn modelId="{02012B09-7613-4CB8-99F8-325E121CC419}" type="presParOf" srcId="{35CBA655-D40F-4A2B-B71A-711D392B5A84}" destId="{29CE8073-D253-4588-B954-7167D33B1947}" srcOrd="1" destOrd="0" presId="urn:microsoft.com/office/officeart/2005/8/layout/orgChart1"/>
    <dgm:cxn modelId="{E14FD1F9-93FE-4195-966E-071D3857E452}" type="presParOf" srcId="{29CE8073-D253-4588-B954-7167D33B1947}" destId="{AEDC7120-FE6F-49D8-95F2-AB1B2B6AC9A8}" srcOrd="0" destOrd="0" presId="urn:microsoft.com/office/officeart/2005/8/layout/orgChart1"/>
    <dgm:cxn modelId="{737730DF-C2DA-4ACE-98C8-5EDF65A2A4B5}" type="presParOf" srcId="{29CE8073-D253-4588-B954-7167D33B1947}" destId="{F65159AB-B6AE-4C58-BE85-DB4966F15FBA}" srcOrd="1" destOrd="0" presId="urn:microsoft.com/office/officeart/2005/8/layout/orgChart1"/>
    <dgm:cxn modelId="{B0FB38D6-3AA3-4B96-BCA5-44B1A8668B89}" type="presParOf" srcId="{F65159AB-B6AE-4C58-BE85-DB4966F15FBA}" destId="{4413A7CD-B07B-4481-95F7-63264BEB8326}" srcOrd="0" destOrd="0" presId="urn:microsoft.com/office/officeart/2005/8/layout/orgChart1"/>
    <dgm:cxn modelId="{3946D022-F51A-456C-B490-FB32E2551096}" type="presParOf" srcId="{4413A7CD-B07B-4481-95F7-63264BEB8326}" destId="{6E033C69-6BA8-4812-AE4E-0022A986E944}" srcOrd="0" destOrd="0" presId="urn:microsoft.com/office/officeart/2005/8/layout/orgChart1"/>
    <dgm:cxn modelId="{F9CD1D1F-7D7F-44BB-BB15-3FF65FFDCB93}" type="presParOf" srcId="{4413A7CD-B07B-4481-95F7-63264BEB8326}" destId="{20C564F4-BF5C-4321-B86B-65391CEDEFC7}" srcOrd="1" destOrd="0" presId="urn:microsoft.com/office/officeart/2005/8/layout/orgChart1"/>
    <dgm:cxn modelId="{63364DF7-78BE-43A9-8A0B-C68658598BB5}" type="presParOf" srcId="{F65159AB-B6AE-4C58-BE85-DB4966F15FBA}" destId="{7C0A51FE-5187-4FBA-A9F6-DFFAA1B3DD3E}" srcOrd="1" destOrd="0" presId="urn:microsoft.com/office/officeart/2005/8/layout/orgChart1"/>
    <dgm:cxn modelId="{51DDB6FF-A0D4-40B5-A02F-79DF98D76DE8}" type="presParOf" srcId="{F65159AB-B6AE-4C58-BE85-DB4966F15FBA}" destId="{A5F1F6CB-B812-4FEA-ACD0-E838992C8274}" srcOrd="2" destOrd="0" presId="urn:microsoft.com/office/officeart/2005/8/layout/orgChart1"/>
    <dgm:cxn modelId="{2481A1D7-EB33-4851-9C76-56C1CD1F91FC}" type="presParOf" srcId="{29CE8073-D253-4588-B954-7167D33B1947}" destId="{28E82B1A-B1F2-4CC5-9B64-B60015CBF624}" srcOrd="2" destOrd="0" presId="urn:microsoft.com/office/officeart/2005/8/layout/orgChart1"/>
    <dgm:cxn modelId="{7340B6F3-CB15-48E0-B781-0C30467DAF45}" type="presParOf" srcId="{29CE8073-D253-4588-B954-7167D33B1947}" destId="{B22DAA2B-22C5-4EFA-A0A6-9AD0235D2103}" srcOrd="3" destOrd="0" presId="urn:microsoft.com/office/officeart/2005/8/layout/orgChart1"/>
    <dgm:cxn modelId="{BB000F63-9FC8-4EAA-9AAA-7EB9AB0D7DB2}" type="presParOf" srcId="{B22DAA2B-22C5-4EFA-A0A6-9AD0235D2103}" destId="{514CA667-AA27-4D37-9311-1D5D85EF643D}" srcOrd="0" destOrd="0" presId="urn:microsoft.com/office/officeart/2005/8/layout/orgChart1"/>
    <dgm:cxn modelId="{FBA1F83A-8CE9-444B-BB1B-90ED4DBACB9E}" type="presParOf" srcId="{514CA667-AA27-4D37-9311-1D5D85EF643D}" destId="{428A54D9-43F6-47B6-B3A2-FDCE09CB5A97}" srcOrd="0" destOrd="0" presId="urn:microsoft.com/office/officeart/2005/8/layout/orgChart1"/>
    <dgm:cxn modelId="{6DA7F63A-F35D-4AAA-A9AA-97903E39B728}" type="presParOf" srcId="{514CA667-AA27-4D37-9311-1D5D85EF643D}" destId="{31DAB6FE-4097-4695-9397-7DCCE262634B}" srcOrd="1" destOrd="0" presId="urn:microsoft.com/office/officeart/2005/8/layout/orgChart1"/>
    <dgm:cxn modelId="{4C59E90B-6E71-442D-8AE3-3B6F361F9BCC}" type="presParOf" srcId="{B22DAA2B-22C5-4EFA-A0A6-9AD0235D2103}" destId="{F4CC167B-F2F2-455C-9A45-823F18AFEF9A}" srcOrd="1" destOrd="0" presId="urn:microsoft.com/office/officeart/2005/8/layout/orgChart1"/>
    <dgm:cxn modelId="{A1D1DAFE-D9C4-4468-A5FF-BB480975A8C7}" type="presParOf" srcId="{B22DAA2B-22C5-4EFA-A0A6-9AD0235D2103}" destId="{A5D0575B-48E0-4A98-88E8-8B4961A6F762}" srcOrd="2" destOrd="0" presId="urn:microsoft.com/office/officeart/2005/8/layout/orgChart1"/>
    <dgm:cxn modelId="{53843B1E-D244-4599-97D6-E186A1999F50}" type="presParOf" srcId="{35CBA655-D40F-4A2B-B71A-711D392B5A84}" destId="{528156B2-647C-44D5-ABAD-EBDCDF85B348}" srcOrd="2" destOrd="0" presId="urn:microsoft.com/office/officeart/2005/8/layout/orgChart1"/>
    <dgm:cxn modelId="{6760F8F1-30D0-4D60-9419-F09F527C4E95}" type="presParOf" srcId="{25A00B3E-FEA8-439F-999E-8DB6BC95DBC0}" destId="{B87F60ED-85BE-4872-BA6E-CDCB9CBDC6A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A26E1133-27F8-42A1-91FE-23383B9ACC99}" type="doc">
      <dgm:prSet loTypeId="urn:microsoft.com/office/officeart/2005/8/layout/orgChart1" loCatId="hierarchy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3BDC9E6-B3ED-4E11-B81F-A36F96CA06AD}">
      <dgm:prSet custT="1"/>
      <dgm:spPr/>
      <dgm:t>
        <a:bodyPr/>
        <a:lstStyle/>
        <a:p>
          <a:pPr rtl="0"/>
          <a:r>
            <a:rPr lang="en-US" sz="2000" dirty="0" smtClean="0"/>
            <a:t>Usability is essentially Human Computer Interaction. Runtime Tactics are</a:t>
          </a:r>
          <a:endParaRPr lang="en-US" sz="2000" dirty="0"/>
        </a:p>
      </dgm:t>
    </dgm:pt>
    <dgm:pt modelId="{818B4425-229C-4D05-BD73-F2583AB7B9C5}" type="parTrans" cxnId="{E040E2E2-F016-4F82-9927-EA3D62DA0F57}">
      <dgm:prSet/>
      <dgm:spPr/>
      <dgm:t>
        <a:bodyPr/>
        <a:lstStyle/>
        <a:p>
          <a:endParaRPr lang="en-US" sz="2000"/>
        </a:p>
      </dgm:t>
    </dgm:pt>
    <dgm:pt modelId="{A3D2AA9D-1D2C-45CA-9A99-0FD9E343747F}" type="sibTrans" cxnId="{E040E2E2-F016-4F82-9927-EA3D62DA0F57}">
      <dgm:prSet/>
      <dgm:spPr/>
      <dgm:t>
        <a:bodyPr/>
        <a:lstStyle/>
        <a:p>
          <a:endParaRPr lang="en-US" sz="2000"/>
        </a:p>
      </dgm:t>
    </dgm:pt>
    <dgm:pt modelId="{843E3B21-DC9F-4CF8-A7F1-93BF704E47A7}">
      <dgm:prSet custT="1"/>
      <dgm:spPr/>
      <dgm:t>
        <a:bodyPr/>
        <a:lstStyle/>
        <a:p>
          <a:pPr rtl="0"/>
          <a:r>
            <a:rPr lang="en-US" sz="1800" dirty="0" smtClean="0"/>
            <a:t>User initiative (and system responds)</a:t>
          </a:r>
          <a:endParaRPr lang="en-US" sz="1800" dirty="0"/>
        </a:p>
      </dgm:t>
    </dgm:pt>
    <dgm:pt modelId="{3EEFE082-C4FA-499A-BA01-E4B8217A4B73}" type="parTrans" cxnId="{3C110BFF-FD87-473E-9985-0D9D761E60BD}">
      <dgm:prSet/>
      <dgm:spPr/>
      <dgm:t>
        <a:bodyPr/>
        <a:lstStyle/>
        <a:p>
          <a:endParaRPr lang="en-US" sz="2000"/>
        </a:p>
      </dgm:t>
    </dgm:pt>
    <dgm:pt modelId="{2992CB8F-FBF4-486F-BE86-7AEC96D28238}" type="sibTrans" cxnId="{3C110BFF-FD87-473E-9985-0D9D761E60BD}">
      <dgm:prSet/>
      <dgm:spPr/>
      <dgm:t>
        <a:bodyPr/>
        <a:lstStyle/>
        <a:p>
          <a:endParaRPr lang="en-US" sz="2000"/>
        </a:p>
      </dgm:t>
    </dgm:pt>
    <dgm:pt modelId="{A240A1E1-162D-4A6E-A806-B6FF45B3AB68}">
      <dgm:prSet custT="1"/>
      <dgm:spPr/>
      <dgm:t>
        <a:bodyPr/>
        <a:lstStyle/>
        <a:p>
          <a:pPr rtl="0"/>
          <a:r>
            <a:rPr lang="en-US" sz="1600" smtClean="0"/>
            <a:t>Cancel, undo, aggregation, store partial result</a:t>
          </a:r>
          <a:endParaRPr lang="en-US" sz="1600"/>
        </a:p>
      </dgm:t>
    </dgm:pt>
    <dgm:pt modelId="{F0BD47AB-7AC9-40A2-A96D-1A911EFDE7FF}" type="parTrans" cxnId="{CCB5AE26-70F4-4C5B-B53D-136E39A12AC5}">
      <dgm:prSet/>
      <dgm:spPr/>
      <dgm:t>
        <a:bodyPr/>
        <a:lstStyle/>
        <a:p>
          <a:endParaRPr lang="en-US" sz="2000"/>
        </a:p>
      </dgm:t>
    </dgm:pt>
    <dgm:pt modelId="{A12D77FB-8453-4F78-A007-65AD68966259}" type="sibTrans" cxnId="{CCB5AE26-70F4-4C5B-B53D-136E39A12AC5}">
      <dgm:prSet/>
      <dgm:spPr/>
      <dgm:t>
        <a:bodyPr/>
        <a:lstStyle/>
        <a:p>
          <a:endParaRPr lang="en-US" sz="2000"/>
        </a:p>
      </dgm:t>
    </dgm:pt>
    <dgm:pt modelId="{C35FC96E-9015-4790-BDC3-6E0D4D502FCB}">
      <dgm:prSet custT="1"/>
      <dgm:spPr/>
      <dgm:t>
        <a:bodyPr/>
        <a:lstStyle/>
        <a:p>
          <a:pPr rtl="0"/>
          <a:r>
            <a:rPr lang="en-US" sz="1800" dirty="0" smtClean="0"/>
            <a:t>System initiative</a:t>
          </a:r>
          <a:endParaRPr lang="en-US" sz="1800" dirty="0"/>
        </a:p>
      </dgm:t>
    </dgm:pt>
    <dgm:pt modelId="{54165FB5-F7A3-4BBF-B199-2BE2BA410DE8}" type="parTrans" cxnId="{C159F786-ED38-476E-9CAF-598C4BA6A40C}">
      <dgm:prSet/>
      <dgm:spPr/>
      <dgm:t>
        <a:bodyPr/>
        <a:lstStyle/>
        <a:p>
          <a:endParaRPr lang="en-US" sz="2000"/>
        </a:p>
      </dgm:t>
    </dgm:pt>
    <dgm:pt modelId="{599E3296-C316-405C-B222-CEA737D995B5}" type="sibTrans" cxnId="{C159F786-ED38-476E-9CAF-598C4BA6A40C}">
      <dgm:prSet/>
      <dgm:spPr/>
      <dgm:t>
        <a:bodyPr/>
        <a:lstStyle/>
        <a:p>
          <a:endParaRPr lang="en-US" sz="2000"/>
        </a:p>
      </dgm:t>
    </dgm:pt>
    <dgm:pt modelId="{563BDB53-F022-44D5-A994-7DED9242388F}">
      <dgm:prSet custT="1"/>
      <dgm:spPr/>
      <dgm:t>
        <a:bodyPr/>
        <a:lstStyle/>
        <a:p>
          <a:pPr rtl="0"/>
          <a:r>
            <a:rPr lang="en-US" sz="1600" b="1" u="sng" dirty="0" smtClean="0"/>
            <a:t>Task model:</a:t>
          </a:r>
          <a:r>
            <a:rPr lang="en-US" sz="1600" dirty="0" smtClean="0"/>
            <a:t> understands the context of the task user is trying and provide assistance </a:t>
          </a:r>
          <a:endParaRPr lang="en-US" sz="1600" dirty="0"/>
        </a:p>
      </dgm:t>
    </dgm:pt>
    <dgm:pt modelId="{3D99B9D3-036F-4B86-B0E2-A658DBBECB0D}" type="parTrans" cxnId="{3AE45D05-FF04-4313-A392-D71504CDB294}">
      <dgm:prSet/>
      <dgm:spPr/>
      <dgm:t>
        <a:bodyPr/>
        <a:lstStyle/>
        <a:p>
          <a:endParaRPr lang="en-US" sz="2000"/>
        </a:p>
      </dgm:t>
    </dgm:pt>
    <dgm:pt modelId="{53A9DF38-5152-4CC3-B7FF-92A98B26A487}" type="sibTrans" cxnId="{3AE45D05-FF04-4313-A392-D71504CDB294}">
      <dgm:prSet/>
      <dgm:spPr/>
      <dgm:t>
        <a:bodyPr/>
        <a:lstStyle/>
        <a:p>
          <a:endParaRPr lang="en-US" sz="2000"/>
        </a:p>
      </dgm:t>
    </dgm:pt>
    <dgm:pt modelId="{F6307309-103E-47AF-B4CF-3A814DB640F9}">
      <dgm:prSet custT="1"/>
      <dgm:spPr/>
      <dgm:t>
        <a:bodyPr/>
        <a:lstStyle/>
        <a:p>
          <a:pPr rtl="0"/>
          <a:r>
            <a:rPr lang="en-US" sz="1400" dirty="0" smtClean="0"/>
            <a:t>Correct spelling during typing but not during password entry</a:t>
          </a:r>
          <a:endParaRPr lang="en-US" sz="1400" dirty="0"/>
        </a:p>
      </dgm:t>
    </dgm:pt>
    <dgm:pt modelId="{E6CCEFDB-E9CF-4440-A9C6-AD2740CBCCC3}" type="parTrans" cxnId="{FF6DF8D3-F426-4B10-AEC7-0F691A802EF6}">
      <dgm:prSet/>
      <dgm:spPr/>
      <dgm:t>
        <a:bodyPr/>
        <a:lstStyle/>
        <a:p>
          <a:endParaRPr lang="en-US" sz="2000"/>
        </a:p>
      </dgm:t>
    </dgm:pt>
    <dgm:pt modelId="{DFA021AF-D60B-4DBB-8240-EA9C8C6CDB4E}" type="sibTrans" cxnId="{FF6DF8D3-F426-4B10-AEC7-0F691A802EF6}">
      <dgm:prSet/>
      <dgm:spPr/>
      <dgm:t>
        <a:bodyPr/>
        <a:lstStyle/>
        <a:p>
          <a:endParaRPr lang="en-US" sz="2000"/>
        </a:p>
      </dgm:t>
    </dgm:pt>
    <dgm:pt modelId="{AFCA2418-8D6B-4E9C-BE52-FC74C908050F}">
      <dgm:prSet custT="1"/>
      <dgm:spPr/>
      <dgm:t>
        <a:bodyPr/>
        <a:lstStyle/>
        <a:p>
          <a:pPr rtl="0"/>
          <a:r>
            <a:rPr lang="en-US" sz="1600" b="1" u="sng" dirty="0" smtClean="0"/>
            <a:t>User model: </a:t>
          </a:r>
          <a:r>
            <a:rPr lang="en-US" sz="1600" dirty="0" smtClean="0"/>
            <a:t>understands who the user is and takes action</a:t>
          </a:r>
          <a:endParaRPr lang="en-US" sz="1600" dirty="0"/>
        </a:p>
      </dgm:t>
    </dgm:pt>
    <dgm:pt modelId="{4E25AF54-5C18-4905-8913-7D1EA2AC6905}" type="parTrans" cxnId="{482DB792-4616-4429-8146-834A4E403FCA}">
      <dgm:prSet/>
      <dgm:spPr/>
      <dgm:t>
        <a:bodyPr/>
        <a:lstStyle/>
        <a:p>
          <a:endParaRPr lang="en-US" sz="2000"/>
        </a:p>
      </dgm:t>
    </dgm:pt>
    <dgm:pt modelId="{2863A287-FD1D-46AB-958E-D6DB7D840902}" type="sibTrans" cxnId="{482DB792-4616-4429-8146-834A4E403FCA}">
      <dgm:prSet/>
      <dgm:spPr/>
      <dgm:t>
        <a:bodyPr/>
        <a:lstStyle/>
        <a:p>
          <a:endParaRPr lang="en-US" sz="2000"/>
        </a:p>
      </dgm:t>
    </dgm:pt>
    <dgm:pt modelId="{F89FC749-F50C-4BBF-9E56-3E28891C9081}">
      <dgm:prSet custT="1"/>
      <dgm:spPr/>
      <dgm:t>
        <a:bodyPr/>
        <a:lstStyle/>
        <a:p>
          <a:pPr rtl="0"/>
          <a:r>
            <a:rPr lang="en-US" sz="1400" dirty="0" smtClean="0"/>
            <a:t>Adjust scrolling speed, user specific customization, locale specific adjustment</a:t>
          </a:r>
          <a:endParaRPr lang="en-US" sz="1400" dirty="0"/>
        </a:p>
      </dgm:t>
    </dgm:pt>
    <dgm:pt modelId="{8D96278E-9F24-4F57-A0C7-D7EED281DE9D}" type="parTrans" cxnId="{6FD2CBE2-FAA5-46C4-BB69-296201DB665C}">
      <dgm:prSet/>
      <dgm:spPr/>
      <dgm:t>
        <a:bodyPr/>
        <a:lstStyle/>
        <a:p>
          <a:endParaRPr lang="en-US" sz="2000"/>
        </a:p>
      </dgm:t>
    </dgm:pt>
    <dgm:pt modelId="{7B2AAD9B-D195-4AB1-B773-7AC2F9013FD7}" type="sibTrans" cxnId="{6FD2CBE2-FAA5-46C4-BB69-296201DB665C}">
      <dgm:prSet/>
      <dgm:spPr/>
      <dgm:t>
        <a:bodyPr/>
        <a:lstStyle/>
        <a:p>
          <a:endParaRPr lang="en-US" sz="2000"/>
        </a:p>
      </dgm:t>
    </dgm:pt>
    <dgm:pt modelId="{830BFD2B-F1DC-48CD-8359-2EF69B3F4845}">
      <dgm:prSet custT="1"/>
      <dgm:spPr/>
      <dgm:t>
        <a:bodyPr/>
        <a:lstStyle/>
        <a:p>
          <a:pPr rtl="0"/>
          <a:r>
            <a:rPr lang="en-US" sz="1600" b="1" u="sng" dirty="0" smtClean="0"/>
            <a:t>System model: </a:t>
          </a:r>
          <a:r>
            <a:rPr lang="en-US" sz="1600" dirty="0" smtClean="0"/>
            <a:t/>
          </a:r>
          <a:br>
            <a:rPr lang="en-US" sz="1600" dirty="0" smtClean="0"/>
          </a:br>
          <a:r>
            <a:rPr lang="en-US" sz="1600" dirty="0" smtClean="0"/>
            <a:t>gets the current state of the system and responds</a:t>
          </a:r>
          <a:endParaRPr lang="en-US" sz="1600" dirty="0"/>
        </a:p>
      </dgm:t>
    </dgm:pt>
    <dgm:pt modelId="{730934AA-743C-4E3A-B992-EDC75BC49F7E}" type="parTrans" cxnId="{DD0B0603-DE3A-4EB7-9BD3-6BE1B7B6970C}">
      <dgm:prSet/>
      <dgm:spPr/>
      <dgm:t>
        <a:bodyPr/>
        <a:lstStyle/>
        <a:p>
          <a:endParaRPr lang="en-US" sz="2000"/>
        </a:p>
      </dgm:t>
    </dgm:pt>
    <dgm:pt modelId="{CA352F9D-285E-447C-BD62-78B44998D479}" type="sibTrans" cxnId="{DD0B0603-DE3A-4EB7-9BD3-6BE1B7B6970C}">
      <dgm:prSet/>
      <dgm:spPr/>
      <dgm:t>
        <a:bodyPr/>
        <a:lstStyle/>
        <a:p>
          <a:endParaRPr lang="en-US" sz="2000"/>
        </a:p>
      </dgm:t>
    </dgm:pt>
    <dgm:pt modelId="{FFEF3706-CF93-4454-94B8-9B70F84566E7}">
      <dgm:prSet custT="1"/>
      <dgm:spPr/>
      <dgm:t>
        <a:bodyPr/>
        <a:lstStyle/>
        <a:p>
          <a:pPr rtl="0"/>
          <a:r>
            <a:rPr lang="en-US" sz="1400" smtClean="0"/>
            <a:t>Time needed to complete a task</a:t>
          </a:r>
          <a:endParaRPr lang="en-US" sz="1400"/>
        </a:p>
      </dgm:t>
    </dgm:pt>
    <dgm:pt modelId="{697F9D67-01B5-429B-A07B-292B7521B5D3}" type="parTrans" cxnId="{680A5C38-52D9-453C-9F92-6F12583B133B}">
      <dgm:prSet/>
      <dgm:spPr/>
      <dgm:t>
        <a:bodyPr/>
        <a:lstStyle/>
        <a:p>
          <a:endParaRPr lang="en-US" sz="2000"/>
        </a:p>
      </dgm:t>
    </dgm:pt>
    <dgm:pt modelId="{ED18F42A-5DCB-4B14-B270-532961FA3152}" type="sibTrans" cxnId="{680A5C38-52D9-453C-9F92-6F12583B133B}">
      <dgm:prSet/>
      <dgm:spPr/>
      <dgm:t>
        <a:bodyPr/>
        <a:lstStyle/>
        <a:p>
          <a:endParaRPr lang="en-US" sz="2000"/>
        </a:p>
      </dgm:t>
    </dgm:pt>
    <dgm:pt modelId="{E9F5810C-05C5-4937-8779-609DD6BD5CFD}" type="pres">
      <dgm:prSet presAssocID="{A26E1133-27F8-42A1-91FE-23383B9ACC9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5A00B3E-FEA8-439F-999E-8DB6BC95DBC0}" type="pres">
      <dgm:prSet presAssocID="{43BDC9E6-B3ED-4E11-B81F-A36F96CA06AD}" presName="hierRoot1" presStyleCnt="0">
        <dgm:presLayoutVars>
          <dgm:hierBranch val="init"/>
        </dgm:presLayoutVars>
      </dgm:prSet>
      <dgm:spPr/>
    </dgm:pt>
    <dgm:pt modelId="{305CB9B7-E4C6-453D-AC39-1DA3FA25C576}" type="pres">
      <dgm:prSet presAssocID="{43BDC9E6-B3ED-4E11-B81F-A36F96CA06AD}" presName="rootComposite1" presStyleCnt="0"/>
      <dgm:spPr/>
    </dgm:pt>
    <dgm:pt modelId="{1AD90FEA-3135-49C2-A3C0-CFEDDC6405B3}" type="pres">
      <dgm:prSet presAssocID="{43BDC9E6-B3ED-4E11-B81F-A36F96CA06AD}" presName="rootText1" presStyleLbl="node0" presStyleIdx="0" presStyleCnt="1" custScaleX="217502" custLinFactNeighborX="1602" custLinFactNeighborY="-4516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EF86BC6-06CE-4768-9942-F4420543D5EE}" type="pres">
      <dgm:prSet presAssocID="{43BDC9E6-B3ED-4E11-B81F-A36F96CA06AD}" presName="rootConnector1" presStyleLbl="node1" presStyleIdx="0" presStyleCnt="0"/>
      <dgm:spPr/>
      <dgm:t>
        <a:bodyPr/>
        <a:lstStyle/>
        <a:p>
          <a:endParaRPr lang="en-US"/>
        </a:p>
      </dgm:t>
    </dgm:pt>
    <dgm:pt modelId="{EC72B6B4-B63E-4FE2-8CC2-5FA221770366}" type="pres">
      <dgm:prSet presAssocID="{43BDC9E6-B3ED-4E11-B81F-A36F96CA06AD}" presName="hierChild2" presStyleCnt="0"/>
      <dgm:spPr/>
    </dgm:pt>
    <dgm:pt modelId="{A3BC68A0-CABF-4126-884C-C90818E1E26E}" type="pres">
      <dgm:prSet presAssocID="{3EEFE082-C4FA-499A-BA01-E4B8217A4B73}" presName="Name37" presStyleLbl="parChTrans1D2" presStyleIdx="0" presStyleCnt="2"/>
      <dgm:spPr/>
      <dgm:t>
        <a:bodyPr/>
        <a:lstStyle/>
        <a:p>
          <a:endParaRPr lang="en-US"/>
        </a:p>
      </dgm:t>
    </dgm:pt>
    <dgm:pt modelId="{9B84C5AA-6259-445A-8F7A-6D366FCBB4AD}" type="pres">
      <dgm:prSet presAssocID="{843E3B21-DC9F-4CF8-A7F1-93BF704E47A7}" presName="hierRoot2" presStyleCnt="0">
        <dgm:presLayoutVars>
          <dgm:hierBranch val="init"/>
        </dgm:presLayoutVars>
      </dgm:prSet>
      <dgm:spPr/>
    </dgm:pt>
    <dgm:pt modelId="{F324FB99-E565-440D-9319-A2867DA87756}" type="pres">
      <dgm:prSet presAssocID="{843E3B21-DC9F-4CF8-A7F1-93BF704E47A7}" presName="rootComposite" presStyleCnt="0"/>
      <dgm:spPr/>
    </dgm:pt>
    <dgm:pt modelId="{5E5C4910-D5C2-4117-9825-0F4E2308A1D4}" type="pres">
      <dgm:prSet presAssocID="{843E3B21-DC9F-4CF8-A7F1-93BF704E47A7}" presName="rootText" presStyleLbl="node2" presStyleIdx="0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B22B6A5-BFAD-4E5F-BED0-C002FA69FEEF}" type="pres">
      <dgm:prSet presAssocID="{843E3B21-DC9F-4CF8-A7F1-93BF704E47A7}" presName="rootConnector" presStyleLbl="node2" presStyleIdx="0" presStyleCnt="2"/>
      <dgm:spPr/>
      <dgm:t>
        <a:bodyPr/>
        <a:lstStyle/>
        <a:p>
          <a:endParaRPr lang="en-US"/>
        </a:p>
      </dgm:t>
    </dgm:pt>
    <dgm:pt modelId="{16186025-4BC6-46E2-97F6-F9084F02632D}" type="pres">
      <dgm:prSet presAssocID="{843E3B21-DC9F-4CF8-A7F1-93BF704E47A7}" presName="hierChild4" presStyleCnt="0"/>
      <dgm:spPr/>
    </dgm:pt>
    <dgm:pt modelId="{AEDC7120-FE6F-49D8-95F2-AB1B2B6AC9A8}" type="pres">
      <dgm:prSet presAssocID="{F0BD47AB-7AC9-40A2-A96D-1A911EFDE7FF}" presName="Name37" presStyleLbl="parChTrans1D3" presStyleIdx="0" presStyleCnt="4"/>
      <dgm:spPr/>
      <dgm:t>
        <a:bodyPr/>
        <a:lstStyle/>
        <a:p>
          <a:endParaRPr lang="en-US"/>
        </a:p>
      </dgm:t>
    </dgm:pt>
    <dgm:pt modelId="{F65159AB-B6AE-4C58-BE85-DB4966F15FBA}" type="pres">
      <dgm:prSet presAssocID="{A240A1E1-162D-4A6E-A806-B6FF45B3AB68}" presName="hierRoot2" presStyleCnt="0">
        <dgm:presLayoutVars>
          <dgm:hierBranch val="init"/>
        </dgm:presLayoutVars>
      </dgm:prSet>
      <dgm:spPr/>
    </dgm:pt>
    <dgm:pt modelId="{4413A7CD-B07B-4481-95F7-63264BEB8326}" type="pres">
      <dgm:prSet presAssocID="{A240A1E1-162D-4A6E-A806-B6FF45B3AB68}" presName="rootComposite" presStyleCnt="0"/>
      <dgm:spPr/>
    </dgm:pt>
    <dgm:pt modelId="{6E033C69-6BA8-4812-AE4E-0022A986E944}" type="pres">
      <dgm:prSet presAssocID="{A240A1E1-162D-4A6E-A806-B6FF45B3AB68}" presName="rootText" presStyleLbl="node3" presStyleIdx="0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0C564F4-BF5C-4321-B86B-65391CEDEFC7}" type="pres">
      <dgm:prSet presAssocID="{A240A1E1-162D-4A6E-A806-B6FF45B3AB68}" presName="rootConnector" presStyleLbl="node3" presStyleIdx="0" presStyleCnt="4"/>
      <dgm:spPr/>
      <dgm:t>
        <a:bodyPr/>
        <a:lstStyle/>
        <a:p>
          <a:endParaRPr lang="en-US"/>
        </a:p>
      </dgm:t>
    </dgm:pt>
    <dgm:pt modelId="{7C0A51FE-5187-4FBA-A9F6-DFFAA1B3DD3E}" type="pres">
      <dgm:prSet presAssocID="{A240A1E1-162D-4A6E-A806-B6FF45B3AB68}" presName="hierChild4" presStyleCnt="0"/>
      <dgm:spPr/>
    </dgm:pt>
    <dgm:pt modelId="{A5F1F6CB-B812-4FEA-ACD0-E838992C8274}" type="pres">
      <dgm:prSet presAssocID="{A240A1E1-162D-4A6E-A806-B6FF45B3AB68}" presName="hierChild5" presStyleCnt="0"/>
      <dgm:spPr/>
    </dgm:pt>
    <dgm:pt modelId="{82355405-192E-42E7-B905-7A6FE845C6D9}" type="pres">
      <dgm:prSet presAssocID="{843E3B21-DC9F-4CF8-A7F1-93BF704E47A7}" presName="hierChild5" presStyleCnt="0"/>
      <dgm:spPr/>
    </dgm:pt>
    <dgm:pt modelId="{B562ECC0-9994-4B01-9E77-D5C13C496118}" type="pres">
      <dgm:prSet presAssocID="{54165FB5-F7A3-4BBF-B199-2BE2BA410DE8}" presName="Name37" presStyleLbl="parChTrans1D2" presStyleIdx="1" presStyleCnt="2"/>
      <dgm:spPr/>
      <dgm:t>
        <a:bodyPr/>
        <a:lstStyle/>
        <a:p>
          <a:endParaRPr lang="en-US"/>
        </a:p>
      </dgm:t>
    </dgm:pt>
    <dgm:pt modelId="{E18799E9-9DA7-423F-B7B3-369EFE76B3B6}" type="pres">
      <dgm:prSet presAssocID="{C35FC96E-9015-4790-BDC3-6E0D4D502FCB}" presName="hierRoot2" presStyleCnt="0">
        <dgm:presLayoutVars>
          <dgm:hierBranch val="init"/>
        </dgm:presLayoutVars>
      </dgm:prSet>
      <dgm:spPr/>
    </dgm:pt>
    <dgm:pt modelId="{354F8417-6C70-4131-8450-E52EDD2EFA17}" type="pres">
      <dgm:prSet presAssocID="{C35FC96E-9015-4790-BDC3-6E0D4D502FCB}" presName="rootComposite" presStyleCnt="0"/>
      <dgm:spPr/>
    </dgm:pt>
    <dgm:pt modelId="{67A44139-B3F0-4118-89E8-A44A0D503C36}" type="pres">
      <dgm:prSet presAssocID="{C35FC96E-9015-4790-BDC3-6E0D4D502FCB}" presName="rootText" presStyleLbl="node2" presStyleIdx="1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2267437-59D9-4F70-9854-AF295901641A}" type="pres">
      <dgm:prSet presAssocID="{C35FC96E-9015-4790-BDC3-6E0D4D502FCB}" presName="rootConnector" presStyleLbl="node2" presStyleIdx="1" presStyleCnt="2"/>
      <dgm:spPr/>
      <dgm:t>
        <a:bodyPr/>
        <a:lstStyle/>
        <a:p>
          <a:endParaRPr lang="en-US"/>
        </a:p>
      </dgm:t>
    </dgm:pt>
    <dgm:pt modelId="{A6AF8EE9-DBFC-447B-8940-E76A065FD97B}" type="pres">
      <dgm:prSet presAssocID="{C35FC96E-9015-4790-BDC3-6E0D4D502FCB}" presName="hierChild4" presStyleCnt="0"/>
      <dgm:spPr/>
    </dgm:pt>
    <dgm:pt modelId="{6D3A634C-FD35-4F86-A796-3DD5919F86EB}" type="pres">
      <dgm:prSet presAssocID="{3D99B9D3-036F-4B86-B0E2-A658DBBECB0D}" presName="Name37" presStyleLbl="parChTrans1D3" presStyleIdx="1" presStyleCnt="4"/>
      <dgm:spPr/>
      <dgm:t>
        <a:bodyPr/>
        <a:lstStyle/>
        <a:p>
          <a:endParaRPr lang="en-US"/>
        </a:p>
      </dgm:t>
    </dgm:pt>
    <dgm:pt modelId="{4B03DC64-2348-4C35-8557-3DC745770699}" type="pres">
      <dgm:prSet presAssocID="{563BDB53-F022-44D5-A994-7DED9242388F}" presName="hierRoot2" presStyleCnt="0">
        <dgm:presLayoutVars>
          <dgm:hierBranch val="init"/>
        </dgm:presLayoutVars>
      </dgm:prSet>
      <dgm:spPr/>
    </dgm:pt>
    <dgm:pt modelId="{EEB90F04-A0EB-4C04-B420-2EF090561DAF}" type="pres">
      <dgm:prSet presAssocID="{563BDB53-F022-44D5-A994-7DED9242388F}" presName="rootComposite" presStyleCnt="0"/>
      <dgm:spPr/>
    </dgm:pt>
    <dgm:pt modelId="{4B399877-997D-4C5A-AE6B-CFCEE605BB65}" type="pres">
      <dgm:prSet presAssocID="{563BDB53-F022-44D5-A994-7DED9242388F}" presName="rootText" presStyleLbl="node3" presStyleIdx="1" presStyleCnt="4" custScaleY="17550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824EBDA-4B5C-4410-BDF7-EDBCCC6DE89B}" type="pres">
      <dgm:prSet presAssocID="{563BDB53-F022-44D5-A994-7DED9242388F}" presName="rootConnector" presStyleLbl="node3" presStyleIdx="1" presStyleCnt="4"/>
      <dgm:spPr/>
      <dgm:t>
        <a:bodyPr/>
        <a:lstStyle/>
        <a:p>
          <a:endParaRPr lang="en-US"/>
        </a:p>
      </dgm:t>
    </dgm:pt>
    <dgm:pt modelId="{A0FE2A0F-F998-49FE-8C93-B3A94C194044}" type="pres">
      <dgm:prSet presAssocID="{563BDB53-F022-44D5-A994-7DED9242388F}" presName="hierChild4" presStyleCnt="0"/>
      <dgm:spPr/>
    </dgm:pt>
    <dgm:pt modelId="{0B841EBD-1CB9-4926-9414-31830C10A48C}" type="pres">
      <dgm:prSet presAssocID="{E6CCEFDB-E9CF-4440-A9C6-AD2740CBCCC3}" presName="Name37" presStyleLbl="parChTrans1D4" presStyleIdx="0" presStyleCnt="3"/>
      <dgm:spPr/>
      <dgm:t>
        <a:bodyPr/>
        <a:lstStyle/>
        <a:p>
          <a:endParaRPr lang="en-US"/>
        </a:p>
      </dgm:t>
    </dgm:pt>
    <dgm:pt modelId="{CEF4526B-2E15-4BA7-B296-37BEFAE00285}" type="pres">
      <dgm:prSet presAssocID="{F6307309-103E-47AF-B4CF-3A814DB640F9}" presName="hierRoot2" presStyleCnt="0">
        <dgm:presLayoutVars>
          <dgm:hierBranch val="init"/>
        </dgm:presLayoutVars>
      </dgm:prSet>
      <dgm:spPr/>
    </dgm:pt>
    <dgm:pt modelId="{010D02BF-3B09-49FE-872F-0974596CF5F9}" type="pres">
      <dgm:prSet presAssocID="{F6307309-103E-47AF-B4CF-3A814DB640F9}" presName="rootComposite" presStyleCnt="0"/>
      <dgm:spPr/>
    </dgm:pt>
    <dgm:pt modelId="{5A06C29A-3126-48BF-B144-189375FD0329}" type="pres">
      <dgm:prSet presAssocID="{F6307309-103E-47AF-B4CF-3A814DB640F9}" presName="rootText" presStyleLbl="node4" presStyleIdx="0" presStyleCnt="3" custLinFactNeighborX="1456" custLinFactNeighborY="2336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3F80813-65D3-4BC5-96C1-9A5D5AEADB97}" type="pres">
      <dgm:prSet presAssocID="{F6307309-103E-47AF-B4CF-3A814DB640F9}" presName="rootConnector" presStyleLbl="node4" presStyleIdx="0" presStyleCnt="3"/>
      <dgm:spPr/>
      <dgm:t>
        <a:bodyPr/>
        <a:lstStyle/>
        <a:p>
          <a:endParaRPr lang="en-US"/>
        </a:p>
      </dgm:t>
    </dgm:pt>
    <dgm:pt modelId="{B26E3E9A-5407-4F8C-AA62-043DE696085D}" type="pres">
      <dgm:prSet presAssocID="{F6307309-103E-47AF-B4CF-3A814DB640F9}" presName="hierChild4" presStyleCnt="0"/>
      <dgm:spPr/>
    </dgm:pt>
    <dgm:pt modelId="{727E4B89-A828-454D-AE78-DEDE4A0C1473}" type="pres">
      <dgm:prSet presAssocID="{F6307309-103E-47AF-B4CF-3A814DB640F9}" presName="hierChild5" presStyleCnt="0"/>
      <dgm:spPr/>
    </dgm:pt>
    <dgm:pt modelId="{423AF3AB-9A6B-4A1D-8AF9-C44D00B522E0}" type="pres">
      <dgm:prSet presAssocID="{563BDB53-F022-44D5-A994-7DED9242388F}" presName="hierChild5" presStyleCnt="0"/>
      <dgm:spPr/>
    </dgm:pt>
    <dgm:pt modelId="{2BC6CEE4-3F67-4FA6-8639-65EC4CCFF4D9}" type="pres">
      <dgm:prSet presAssocID="{4E25AF54-5C18-4905-8913-7D1EA2AC6905}" presName="Name37" presStyleLbl="parChTrans1D3" presStyleIdx="2" presStyleCnt="4"/>
      <dgm:spPr/>
      <dgm:t>
        <a:bodyPr/>
        <a:lstStyle/>
        <a:p>
          <a:endParaRPr lang="en-US"/>
        </a:p>
      </dgm:t>
    </dgm:pt>
    <dgm:pt modelId="{56EAD692-CF12-4F08-9E91-48B2A708FB71}" type="pres">
      <dgm:prSet presAssocID="{AFCA2418-8D6B-4E9C-BE52-FC74C908050F}" presName="hierRoot2" presStyleCnt="0">
        <dgm:presLayoutVars>
          <dgm:hierBranch val="init"/>
        </dgm:presLayoutVars>
      </dgm:prSet>
      <dgm:spPr/>
    </dgm:pt>
    <dgm:pt modelId="{17485795-B1F1-44AB-A6F9-533EF86E010F}" type="pres">
      <dgm:prSet presAssocID="{AFCA2418-8D6B-4E9C-BE52-FC74C908050F}" presName="rootComposite" presStyleCnt="0"/>
      <dgm:spPr/>
    </dgm:pt>
    <dgm:pt modelId="{1B4F947A-69EB-46FF-A1EA-7664283D213E}" type="pres">
      <dgm:prSet presAssocID="{AFCA2418-8D6B-4E9C-BE52-FC74C908050F}" presName="rootText" presStyleLbl="node3" presStyleIdx="2" presStyleCnt="4" custScaleY="13894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553D0C6-AEE4-4F65-8DAC-62449D94D6A7}" type="pres">
      <dgm:prSet presAssocID="{AFCA2418-8D6B-4E9C-BE52-FC74C908050F}" presName="rootConnector" presStyleLbl="node3" presStyleIdx="2" presStyleCnt="4"/>
      <dgm:spPr/>
      <dgm:t>
        <a:bodyPr/>
        <a:lstStyle/>
        <a:p>
          <a:endParaRPr lang="en-US"/>
        </a:p>
      </dgm:t>
    </dgm:pt>
    <dgm:pt modelId="{704B6FE3-1A93-464C-BD7D-26786EA03069}" type="pres">
      <dgm:prSet presAssocID="{AFCA2418-8D6B-4E9C-BE52-FC74C908050F}" presName="hierChild4" presStyleCnt="0"/>
      <dgm:spPr/>
    </dgm:pt>
    <dgm:pt modelId="{7F79E16A-DCA2-4B41-B9FB-041F5F8C0836}" type="pres">
      <dgm:prSet presAssocID="{8D96278E-9F24-4F57-A0C7-D7EED281DE9D}" presName="Name37" presStyleLbl="parChTrans1D4" presStyleIdx="1" presStyleCnt="3"/>
      <dgm:spPr/>
      <dgm:t>
        <a:bodyPr/>
        <a:lstStyle/>
        <a:p>
          <a:endParaRPr lang="en-US"/>
        </a:p>
      </dgm:t>
    </dgm:pt>
    <dgm:pt modelId="{7AB126A4-7DFD-4B1F-AAA9-8F64B31288B9}" type="pres">
      <dgm:prSet presAssocID="{F89FC749-F50C-4BBF-9E56-3E28891C9081}" presName="hierRoot2" presStyleCnt="0">
        <dgm:presLayoutVars>
          <dgm:hierBranch val="init"/>
        </dgm:presLayoutVars>
      </dgm:prSet>
      <dgm:spPr/>
    </dgm:pt>
    <dgm:pt modelId="{DA546668-493A-41C6-997B-5D5FCC12835E}" type="pres">
      <dgm:prSet presAssocID="{F89FC749-F50C-4BBF-9E56-3E28891C9081}" presName="rootComposite" presStyleCnt="0"/>
      <dgm:spPr/>
    </dgm:pt>
    <dgm:pt modelId="{024F55D6-668B-49E1-A8E7-A40E7D340D0A}" type="pres">
      <dgm:prSet presAssocID="{F89FC749-F50C-4BBF-9E56-3E28891C9081}" presName="rootText" presStyleLbl="node4" presStyleIdx="1" presStyleCnt="3" custLinFactNeighborX="1853" custLinFactNeighborY="4284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D31A8FA-55C8-4B2E-BA13-7C6E21696CC9}" type="pres">
      <dgm:prSet presAssocID="{F89FC749-F50C-4BBF-9E56-3E28891C9081}" presName="rootConnector" presStyleLbl="node4" presStyleIdx="1" presStyleCnt="3"/>
      <dgm:spPr/>
      <dgm:t>
        <a:bodyPr/>
        <a:lstStyle/>
        <a:p>
          <a:endParaRPr lang="en-US"/>
        </a:p>
      </dgm:t>
    </dgm:pt>
    <dgm:pt modelId="{A0765EF4-6FED-4F03-A673-4F03D12039A5}" type="pres">
      <dgm:prSet presAssocID="{F89FC749-F50C-4BBF-9E56-3E28891C9081}" presName="hierChild4" presStyleCnt="0"/>
      <dgm:spPr/>
    </dgm:pt>
    <dgm:pt modelId="{479FBDC3-5285-4024-B098-337ED3F183B2}" type="pres">
      <dgm:prSet presAssocID="{F89FC749-F50C-4BBF-9E56-3E28891C9081}" presName="hierChild5" presStyleCnt="0"/>
      <dgm:spPr/>
    </dgm:pt>
    <dgm:pt modelId="{DA9CB0A7-0D84-4FCC-8CAA-C663566F179D}" type="pres">
      <dgm:prSet presAssocID="{AFCA2418-8D6B-4E9C-BE52-FC74C908050F}" presName="hierChild5" presStyleCnt="0"/>
      <dgm:spPr/>
    </dgm:pt>
    <dgm:pt modelId="{F396F561-0193-4DAC-94AB-FC3EEAD38895}" type="pres">
      <dgm:prSet presAssocID="{730934AA-743C-4E3A-B992-EDC75BC49F7E}" presName="Name37" presStyleLbl="parChTrans1D3" presStyleIdx="3" presStyleCnt="4"/>
      <dgm:spPr/>
      <dgm:t>
        <a:bodyPr/>
        <a:lstStyle/>
        <a:p>
          <a:endParaRPr lang="en-US"/>
        </a:p>
      </dgm:t>
    </dgm:pt>
    <dgm:pt modelId="{576BA9E2-9384-4C0F-A8DE-0AB334418AF7}" type="pres">
      <dgm:prSet presAssocID="{830BFD2B-F1DC-48CD-8359-2EF69B3F4845}" presName="hierRoot2" presStyleCnt="0">
        <dgm:presLayoutVars>
          <dgm:hierBranch val="init"/>
        </dgm:presLayoutVars>
      </dgm:prSet>
      <dgm:spPr/>
    </dgm:pt>
    <dgm:pt modelId="{6FAAD041-B297-4EFA-9523-2E8BFFA4D2D7}" type="pres">
      <dgm:prSet presAssocID="{830BFD2B-F1DC-48CD-8359-2EF69B3F4845}" presName="rootComposite" presStyleCnt="0"/>
      <dgm:spPr/>
    </dgm:pt>
    <dgm:pt modelId="{567C9F04-89A6-446A-9930-6A15977E58BC}" type="pres">
      <dgm:prSet presAssocID="{830BFD2B-F1DC-48CD-8359-2EF69B3F4845}" presName="rootText" presStyleLbl="node3" presStyleIdx="3" presStyleCnt="4" custScaleY="13814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3F832A4-0FD8-482A-82E7-9C0BC4E29954}" type="pres">
      <dgm:prSet presAssocID="{830BFD2B-F1DC-48CD-8359-2EF69B3F4845}" presName="rootConnector" presStyleLbl="node3" presStyleIdx="3" presStyleCnt="4"/>
      <dgm:spPr/>
      <dgm:t>
        <a:bodyPr/>
        <a:lstStyle/>
        <a:p>
          <a:endParaRPr lang="en-US"/>
        </a:p>
      </dgm:t>
    </dgm:pt>
    <dgm:pt modelId="{0AFCAC7A-4881-4B5E-B26A-7386E044366F}" type="pres">
      <dgm:prSet presAssocID="{830BFD2B-F1DC-48CD-8359-2EF69B3F4845}" presName="hierChild4" presStyleCnt="0"/>
      <dgm:spPr/>
    </dgm:pt>
    <dgm:pt modelId="{A56E760A-4B69-4701-AE07-CDC836D2FC5F}" type="pres">
      <dgm:prSet presAssocID="{697F9D67-01B5-429B-A07B-292B7521B5D3}" presName="Name37" presStyleLbl="parChTrans1D4" presStyleIdx="2" presStyleCnt="3"/>
      <dgm:spPr/>
      <dgm:t>
        <a:bodyPr/>
        <a:lstStyle/>
        <a:p>
          <a:endParaRPr lang="en-US"/>
        </a:p>
      </dgm:t>
    </dgm:pt>
    <dgm:pt modelId="{DFC4DA75-EEA4-4418-A59F-52FFC71FA29F}" type="pres">
      <dgm:prSet presAssocID="{FFEF3706-CF93-4454-94B8-9B70F84566E7}" presName="hierRoot2" presStyleCnt="0">
        <dgm:presLayoutVars>
          <dgm:hierBranch val="init"/>
        </dgm:presLayoutVars>
      </dgm:prSet>
      <dgm:spPr/>
    </dgm:pt>
    <dgm:pt modelId="{95087660-D0E6-475E-8E1B-E152A02BFB42}" type="pres">
      <dgm:prSet presAssocID="{FFEF3706-CF93-4454-94B8-9B70F84566E7}" presName="rootComposite" presStyleCnt="0"/>
      <dgm:spPr/>
    </dgm:pt>
    <dgm:pt modelId="{C8DE60D5-3BFA-4B18-89C8-1F812DCD88C1}" type="pres">
      <dgm:prSet presAssocID="{FFEF3706-CF93-4454-94B8-9B70F84566E7}" presName="rootText" presStyleLbl="node4" presStyleIdx="2" presStyleCnt="3" custLinFactNeighborX="2251" custLinFactNeighborY="4284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386C66D-20E4-49EB-959B-5421CC1E3F82}" type="pres">
      <dgm:prSet presAssocID="{FFEF3706-CF93-4454-94B8-9B70F84566E7}" presName="rootConnector" presStyleLbl="node4" presStyleIdx="2" presStyleCnt="3"/>
      <dgm:spPr/>
      <dgm:t>
        <a:bodyPr/>
        <a:lstStyle/>
        <a:p>
          <a:endParaRPr lang="en-US"/>
        </a:p>
      </dgm:t>
    </dgm:pt>
    <dgm:pt modelId="{BA3FC4F3-FEC8-4F42-82C5-08FE87E50440}" type="pres">
      <dgm:prSet presAssocID="{FFEF3706-CF93-4454-94B8-9B70F84566E7}" presName="hierChild4" presStyleCnt="0"/>
      <dgm:spPr/>
    </dgm:pt>
    <dgm:pt modelId="{64677F8C-55CB-4D78-B640-403683A14DE4}" type="pres">
      <dgm:prSet presAssocID="{FFEF3706-CF93-4454-94B8-9B70F84566E7}" presName="hierChild5" presStyleCnt="0"/>
      <dgm:spPr/>
    </dgm:pt>
    <dgm:pt modelId="{4CEE377B-F75A-4927-843A-862BDB1E60D3}" type="pres">
      <dgm:prSet presAssocID="{830BFD2B-F1DC-48CD-8359-2EF69B3F4845}" presName="hierChild5" presStyleCnt="0"/>
      <dgm:spPr/>
    </dgm:pt>
    <dgm:pt modelId="{430C728D-004C-49FD-A0C1-71CD6E772786}" type="pres">
      <dgm:prSet presAssocID="{C35FC96E-9015-4790-BDC3-6E0D4D502FCB}" presName="hierChild5" presStyleCnt="0"/>
      <dgm:spPr/>
    </dgm:pt>
    <dgm:pt modelId="{B87F60ED-85BE-4872-BA6E-CDCB9CBDC6A3}" type="pres">
      <dgm:prSet presAssocID="{43BDC9E6-B3ED-4E11-B81F-A36F96CA06AD}" presName="hierChild3" presStyleCnt="0"/>
      <dgm:spPr/>
    </dgm:pt>
  </dgm:ptLst>
  <dgm:cxnLst>
    <dgm:cxn modelId="{CC2FF3CA-BF75-43FD-8A8F-6B86DFD52CBE}" type="presOf" srcId="{54165FB5-F7A3-4BBF-B199-2BE2BA410DE8}" destId="{B562ECC0-9994-4B01-9E77-D5C13C496118}" srcOrd="0" destOrd="0" presId="urn:microsoft.com/office/officeart/2005/8/layout/orgChart1"/>
    <dgm:cxn modelId="{FF6DF8D3-F426-4B10-AEC7-0F691A802EF6}" srcId="{563BDB53-F022-44D5-A994-7DED9242388F}" destId="{F6307309-103E-47AF-B4CF-3A814DB640F9}" srcOrd="0" destOrd="0" parTransId="{E6CCEFDB-E9CF-4440-A9C6-AD2740CBCCC3}" sibTransId="{DFA021AF-D60B-4DBB-8240-EA9C8C6CDB4E}"/>
    <dgm:cxn modelId="{3AE45D05-FF04-4313-A392-D71504CDB294}" srcId="{C35FC96E-9015-4790-BDC3-6E0D4D502FCB}" destId="{563BDB53-F022-44D5-A994-7DED9242388F}" srcOrd="0" destOrd="0" parTransId="{3D99B9D3-036F-4B86-B0E2-A658DBBECB0D}" sibTransId="{53A9DF38-5152-4CC3-B7FF-92A98B26A487}"/>
    <dgm:cxn modelId="{5A956741-7713-434A-B8A5-D4C66B1B10EB}" type="presOf" srcId="{FFEF3706-CF93-4454-94B8-9B70F84566E7}" destId="{C8DE60D5-3BFA-4B18-89C8-1F812DCD88C1}" srcOrd="0" destOrd="0" presId="urn:microsoft.com/office/officeart/2005/8/layout/orgChart1"/>
    <dgm:cxn modelId="{76925A4E-286A-481F-A353-260CF4B3360E}" type="presOf" srcId="{A240A1E1-162D-4A6E-A806-B6FF45B3AB68}" destId="{20C564F4-BF5C-4321-B86B-65391CEDEFC7}" srcOrd="1" destOrd="0" presId="urn:microsoft.com/office/officeart/2005/8/layout/orgChart1"/>
    <dgm:cxn modelId="{680A5C38-52D9-453C-9F92-6F12583B133B}" srcId="{830BFD2B-F1DC-48CD-8359-2EF69B3F4845}" destId="{FFEF3706-CF93-4454-94B8-9B70F84566E7}" srcOrd="0" destOrd="0" parTransId="{697F9D67-01B5-429B-A07B-292B7521B5D3}" sibTransId="{ED18F42A-5DCB-4B14-B270-532961FA3152}"/>
    <dgm:cxn modelId="{0AE969F1-943D-44C8-80C2-F05683DBF7B6}" type="presOf" srcId="{3EEFE082-C4FA-499A-BA01-E4B8217A4B73}" destId="{A3BC68A0-CABF-4126-884C-C90818E1E26E}" srcOrd="0" destOrd="0" presId="urn:microsoft.com/office/officeart/2005/8/layout/orgChart1"/>
    <dgm:cxn modelId="{329BDD7C-2A84-4D09-8A52-01142150FC67}" type="presOf" srcId="{F89FC749-F50C-4BBF-9E56-3E28891C9081}" destId="{8D31A8FA-55C8-4B2E-BA13-7C6E21696CC9}" srcOrd="1" destOrd="0" presId="urn:microsoft.com/office/officeart/2005/8/layout/orgChart1"/>
    <dgm:cxn modelId="{8069D4B3-ACA9-4349-B7F9-D7B5608DCFA8}" type="presOf" srcId="{4E25AF54-5C18-4905-8913-7D1EA2AC6905}" destId="{2BC6CEE4-3F67-4FA6-8639-65EC4CCFF4D9}" srcOrd="0" destOrd="0" presId="urn:microsoft.com/office/officeart/2005/8/layout/orgChart1"/>
    <dgm:cxn modelId="{51675CA8-2DC4-4F80-A45E-F7E363906047}" type="presOf" srcId="{F6307309-103E-47AF-B4CF-3A814DB640F9}" destId="{23F80813-65D3-4BC5-96C1-9A5D5AEADB97}" srcOrd="1" destOrd="0" presId="urn:microsoft.com/office/officeart/2005/8/layout/orgChart1"/>
    <dgm:cxn modelId="{86B1CE13-F32D-4160-BBDA-70B97529E862}" type="presOf" srcId="{563BDB53-F022-44D5-A994-7DED9242388F}" destId="{4B399877-997D-4C5A-AE6B-CFCEE605BB65}" srcOrd="0" destOrd="0" presId="urn:microsoft.com/office/officeart/2005/8/layout/orgChart1"/>
    <dgm:cxn modelId="{F981A5A9-F50B-475C-8070-D9ED09387CB4}" type="presOf" srcId="{C35FC96E-9015-4790-BDC3-6E0D4D502FCB}" destId="{B2267437-59D9-4F70-9854-AF295901641A}" srcOrd="1" destOrd="0" presId="urn:microsoft.com/office/officeart/2005/8/layout/orgChart1"/>
    <dgm:cxn modelId="{338694D9-5023-4A66-B470-67F173FF4B24}" type="presOf" srcId="{843E3B21-DC9F-4CF8-A7F1-93BF704E47A7}" destId="{5E5C4910-D5C2-4117-9825-0F4E2308A1D4}" srcOrd="0" destOrd="0" presId="urn:microsoft.com/office/officeart/2005/8/layout/orgChart1"/>
    <dgm:cxn modelId="{A3CB18FC-292E-413A-B6F3-604666F279E2}" type="presOf" srcId="{3D99B9D3-036F-4B86-B0E2-A658DBBECB0D}" destId="{6D3A634C-FD35-4F86-A796-3DD5919F86EB}" srcOrd="0" destOrd="0" presId="urn:microsoft.com/office/officeart/2005/8/layout/orgChart1"/>
    <dgm:cxn modelId="{AD05E4C0-B8D9-4CBC-AFDE-97045E4C560B}" type="presOf" srcId="{830BFD2B-F1DC-48CD-8359-2EF69B3F4845}" destId="{E3F832A4-0FD8-482A-82E7-9C0BC4E29954}" srcOrd="1" destOrd="0" presId="urn:microsoft.com/office/officeart/2005/8/layout/orgChart1"/>
    <dgm:cxn modelId="{31DAB3B2-5B1C-493F-AA0A-42218553C5C6}" type="presOf" srcId="{E6CCEFDB-E9CF-4440-A9C6-AD2740CBCCC3}" destId="{0B841EBD-1CB9-4926-9414-31830C10A48C}" srcOrd="0" destOrd="0" presId="urn:microsoft.com/office/officeart/2005/8/layout/orgChart1"/>
    <dgm:cxn modelId="{E9591845-890E-4515-8FC7-F1B0EC474A6E}" type="presOf" srcId="{AFCA2418-8D6B-4E9C-BE52-FC74C908050F}" destId="{1B4F947A-69EB-46FF-A1EA-7664283D213E}" srcOrd="0" destOrd="0" presId="urn:microsoft.com/office/officeart/2005/8/layout/orgChart1"/>
    <dgm:cxn modelId="{3E4ADB52-6E7B-430E-8B69-EC5556D3D6E1}" type="presOf" srcId="{8D96278E-9F24-4F57-A0C7-D7EED281DE9D}" destId="{7F79E16A-DCA2-4B41-B9FB-041F5F8C0836}" srcOrd="0" destOrd="0" presId="urn:microsoft.com/office/officeart/2005/8/layout/orgChart1"/>
    <dgm:cxn modelId="{F5B813EA-1982-470B-B195-D84CA301B960}" type="presOf" srcId="{F89FC749-F50C-4BBF-9E56-3E28891C9081}" destId="{024F55D6-668B-49E1-A8E7-A40E7D340D0A}" srcOrd="0" destOrd="0" presId="urn:microsoft.com/office/officeart/2005/8/layout/orgChart1"/>
    <dgm:cxn modelId="{4533D33D-D550-4ECD-A299-6AF53CDBD737}" type="presOf" srcId="{AFCA2418-8D6B-4E9C-BE52-FC74C908050F}" destId="{C553D0C6-AEE4-4F65-8DAC-62449D94D6A7}" srcOrd="1" destOrd="0" presId="urn:microsoft.com/office/officeart/2005/8/layout/orgChart1"/>
    <dgm:cxn modelId="{CCB5AE26-70F4-4C5B-B53D-136E39A12AC5}" srcId="{843E3B21-DC9F-4CF8-A7F1-93BF704E47A7}" destId="{A240A1E1-162D-4A6E-A806-B6FF45B3AB68}" srcOrd="0" destOrd="0" parTransId="{F0BD47AB-7AC9-40A2-A96D-1A911EFDE7FF}" sibTransId="{A12D77FB-8453-4F78-A007-65AD68966259}"/>
    <dgm:cxn modelId="{5D822421-BCAC-4B9B-A4AF-CC46294DF260}" type="presOf" srcId="{697F9D67-01B5-429B-A07B-292B7521B5D3}" destId="{A56E760A-4B69-4701-AE07-CDC836D2FC5F}" srcOrd="0" destOrd="0" presId="urn:microsoft.com/office/officeart/2005/8/layout/orgChart1"/>
    <dgm:cxn modelId="{9B1BE9F9-05BB-4133-BDF4-6CBF8AE5708C}" type="presOf" srcId="{43BDC9E6-B3ED-4E11-B81F-A36F96CA06AD}" destId="{6EF86BC6-06CE-4768-9942-F4420543D5EE}" srcOrd="1" destOrd="0" presId="urn:microsoft.com/office/officeart/2005/8/layout/orgChart1"/>
    <dgm:cxn modelId="{E7C696E5-E67A-44BC-9DD0-58C158109DC4}" type="presOf" srcId="{730934AA-743C-4E3A-B992-EDC75BC49F7E}" destId="{F396F561-0193-4DAC-94AB-FC3EEAD38895}" srcOrd="0" destOrd="0" presId="urn:microsoft.com/office/officeart/2005/8/layout/orgChart1"/>
    <dgm:cxn modelId="{DD0B0603-DE3A-4EB7-9BD3-6BE1B7B6970C}" srcId="{C35FC96E-9015-4790-BDC3-6E0D4D502FCB}" destId="{830BFD2B-F1DC-48CD-8359-2EF69B3F4845}" srcOrd="2" destOrd="0" parTransId="{730934AA-743C-4E3A-B992-EDC75BC49F7E}" sibTransId="{CA352F9D-285E-447C-BD62-78B44998D479}"/>
    <dgm:cxn modelId="{6FD2CBE2-FAA5-46C4-BB69-296201DB665C}" srcId="{AFCA2418-8D6B-4E9C-BE52-FC74C908050F}" destId="{F89FC749-F50C-4BBF-9E56-3E28891C9081}" srcOrd="0" destOrd="0" parTransId="{8D96278E-9F24-4F57-A0C7-D7EED281DE9D}" sibTransId="{7B2AAD9B-D195-4AB1-B773-7AC2F9013FD7}"/>
    <dgm:cxn modelId="{C159F786-ED38-476E-9CAF-598C4BA6A40C}" srcId="{43BDC9E6-B3ED-4E11-B81F-A36F96CA06AD}" destId="{C35FC96E-9015-4790-BDC3-6E0D4D502FCB}" srcOrd="1" destOrd="0" parTransId="{54165FB5-F7A3-4BBF-B199-2BE2BA410DE8}" sibTransId="{599E3296-C316-405C-B222-CEA737D995B5}"/>
    <dgm:cxn modelId="{6988A514-BAFC-4E22-B0D9-AC7BEEDDB2A8}" type="presOf" srcId="{A26E1133-27F8-42A1-91FE-23383B9ACC99}" destId="{E9F5810C-05C5-4937-8779-609DD6BD5CFD}" srcOrd="0" destOrd="0" presId="urn:microsoft.com/office/officeart/2005/8/layout/orgChart1"/>
    <dgm:cxn modelId="{BC988760-B12F-4936-8030-30601926836D}" type="presOf" srcId="{43BDC9E6-B3ED-4E11-B81F-A36F96CA06AD}" destId="{1AD90FEA-3135-49C2-A3C0-CFEDDC6405B3}" srcOrd="0" destOrd="0" presId="urn:microsoft.com/office/officeart/2005/8/layout/orgChart1"/>
    <dgm:cxn modelId="{D8EB7DF9-9849-412B-92A7-62CDAE5AED0E}" type="presOf" srcId="{830BFD2B-F1DC-48CD-8359-2EF69B3F4845}" destId="{567C9F04-89A6-446A-9930-6A15977E58BC}" srcOrd="0" destOrd="0" presId="urn:microsoft.com/office/officeart/2005/8/layout/orgChart1"/>
    <dgm:cxn modelId="{965FCDDC-B45F-4540-976B-EF1D9EAECAAA}" type="presOf" srcId="{843E3B21-DC9F-4CF8-A7F1-93BF704E47A7}" destId="{AB22B6A5-BFAD-4E5F-BED0-C002FA69FEEF}" srcOrd="1" destOrd="0" presId="urn:microsoft.com/office/officeart/2005/8/layout/orgChart1"/>
    <dgm:cxn modelId="{FDEA5E52-CB65-4D42-BD7D-D20F6CBA4E31}" type="presOf" srcId="{F0BD47AB-7AC9-40A2-A96D-1A911EFDE7FF}" destId="{AEDC7120-FE6F-49D8-95F2-AB1B2B6AC9A8}" srcOrd="0" destOrd="0" presId="urn:microsoft.com/office/officeart/2005/8/layout/orgChart1"/>
    <dgm:cxn modelId="{F0878349-0D67-40FC-BB72-DFF964CFB101}" type="presOf" srcId="{A240A1E1-162D-4A6E-A806-B6FF45B3AB68}" destId="{6E033C69-6BA8-4812-AE4E-0022A986E944}" srcOrd="0" destOrd="0" presId="urn:microsoft.com/office/officeart/2005/8/layout/orgChart1"/>
    <dgm:cxn modelId="{482DB792-4616-4429-8146-834A4E403FCA}" srcId="{C35FC96E-9015-4790-BDC3-6E0D4D502FCB}" destId="{AFCA2418-8D6B-4E9C-BE52-FC74C908050F}" srcOrd="1" destOrd="0" parTransId="{4E25AF54-5C18-4905-8913-7D1EA2AC6905}" sibTransId="{2863A287-FD1D-46AB-958E-D6DB7D840902}"/>
    <dgm:cxn modelId="{E040E2E2-F016-4F82-9927-EA3D62DA0F57}" srcId="{A26E1133-27F8-42A1-91FE-23383B9ACC99}" destId="{43BDC9E6-B3ED-4E11-B81F-A36F96CA06AD}" srcOrd="0" destOrd="0" parTransId="{818B4425-229C-4D05-BD73-F2583AB7B9C5}" sibTransId="{A3D2AA9D-1D2C-45CA-9A99-0FD9E343747F}"/>
    <dgm:cxn modelId="{3C110BFF-FD87-473E-9985-0D9D761E60BD}" srcId="{43BDC9E6-B3ED-4E11-B81F-A36F96CA06AD}" destId="{843E3B21-DC9F-4CF8-A7F1-93BF704E47A7}" srcOrd="0" destOrd="0" parTransId="{3EEFE082-C4FA-499A-BA01-E4B8217A4B73}" sibTransId="{2992CB8F-FBF4-486F-BE86-7AEC96D28238}"/>
    <dgm:cxn modelId="{03559377-21E6-438B-BD75-DD6C3FD62F93}" type="presOf" srcId="{C35FC96E-9015-4790-BDC3-6E0D4D502FCB}" destId="{67A44139-B3F0-4118-89E8-A44A0D503C36}" srcOrd="0" destOrd="0" presId="urn:microsoft.com/office/officeart/2005/8/layout/orgChart1"/>
    <dgm:cxn modelId="{FE7DC479-52C6-4964-8798-D4865F429D01}" type="presOf" srcId="{FFEF3706-CF93-4454-94B8-9B70F84566E7}" destId="{4386C66D-20E4-49EB-959B-5421CC1E3F82}" srcOrd="1" destOrd="0" presId="urn:microsoft.com/office/officeart/2005/8/layout/orgChart1"/>
    <dgm:cxn modelId="{B37AE540-60F7-4AA7-973B-0F93D69FFC24}" type="presOf" srcId="{563BDB53-F022-44D5-A994-7DED9242388F}" destId="{5824EBDA-4B5C-4410-BDF7-EDBCCC6DE89B}" srcOrd="1" destOrd="0" presId="urn:microsoft.com/office/officeart/2005/8/layout/orgChart1"/>
    <dgm:cxn modelId="{ADDDE632-1784-4302-B0BF-EC4EEAE2683B}" type="presOf" srcId="{F6307309-103E-47AF-B4CF-3A814DB640F9}" destId="{5A06C29A-3126-48BF-B144-189375FD0329}" srcOrd="0" destOrd="0" presId="urn:microsoft.com/office/officeart/2005/8/layout/orgChart1"/>
    <dgm:cxn modelId="{98A1E88D-E505-4CDC-B1A4-191CB130C6A2}" type="presParOf" srcId="{E9F5810C-05C5-4937-8779-609DD6BD5CFD}" destId="{25A00B3E-FEA8-439F-999E-8DB6BC95DBC0}" srcOrd="0" destOrd="0" presId="urn:microsoft.com/office/officeart/2005/8/layout/orgChart1"/>
    <dgm:cxn modelId="{BC272C8D-0020-412E-92D2-8036B181E834}" type="presParOf" srcId="{25A00B3E-FEA8-439F-999E-8DB6BC95DBC0}" destId="{305CB9B7-E4C6-453D-AC39-1DA3FA25C576}" srcOrd="0" destOrd="0" presId="urn:microsoft.com/office/officeart/2005/8/layout/orgChart1"/>
    <dgm:cxn modelId="{91D95B5F-5462-4254-84C9-F1E5E26F6C06}" type="presParOf" srcId="{305CB9B7-E4C6-453D-AC39-1DA3FA25C576}" destId="{1AD90FEA-3135-49C2-A3C0-CFEDDC6405B3}" srcOrd="0" destOrd="0" presId="urn:microsoft.com/office/officeart/2005/8/layout/orgChart1"/>
    <dgm:cxn modelId="{E466B22D-D320-44B7-9EF3-7850094DD556}" type="presParOf" srcId="{305CB9B7-E4C6-453D-AC39-1DA3FA25C576}" destId="{6EF86BC6-06CE-4768-9942-F4420543D5EE}" srcOrd="1" destOrd="0" presId="urn:microsoft.com/office/officeart/2005/8/layout/orgChart1"/>
    <dgm:cxn modelId="{97DEAEB4-4718-4DFB-8AFA-F2FE3763A27F}" type="presParOf" srcId="{25A00B3E-FEA8-439F-999E-8DB6BC95DBC0}" destId="{EC72B6B4-B63E-4FE2-8CC2-5FA221770366}" srcOrd="1" destOrd="0" presId="urn:microsoft.com/office/officeart/2005/8/layout/orgChart1"/>
    <dgm:cxn modelId="{EE699848-15A8-4147-B142-36A10C7191CD}" type="presParOf" srcId="{EC72B6B4-B63E-4FE2-8CC2-5FA221770366}" destId="{A3BC68A0-CABF-4126-884C-C90818E1E26E}" srcOrd="0" destOrd="0" presId="urn:microsoft.com/office/officeart/2005/8/layout/orgChart1"/>
    <dgm:cxn modelId="{705094C0-6A55-4364-B161-0BE25C4F46F2}" type="presParOf" srcId="{EC72B6B4-B63E-4FE2-8CC2-5FA221770366}" destId="{9B84C5AA-6259-445A-8F7A-6D366FCBB4AD}" srcOrd="1" destOrd="0" presId="urn:microsoft.com/office/officeart/2005/8/layout/orgChart1"/>
    <dgm:cxn modelId="{AEB82D23-4F70-47E4-8733-65229980C4DE}" type="presParOf" srcId="{9B84C5AA-6259-445A-8F7A-6D366FCBB4AD}" destId="{F324FB99-E565-440D-9319-A2867DA87756}" srcOrd="0" destOrd="0" presId="urn:microsoft.com/office/officeart/2005/8/layout/orgChart1"/>
    <dgm:cxn modelId="{D2974F3B-5BDD-4BA5-A139-616675582965}" type="presParOf" srcId="{F324FB99-E565-440D-9319-A2867DA87756}" destId="{5E5C4910-D5C2-4117-9825-0F4E2308A1D4}" srcOrd="0" destOrd="0" presId="urn:microsoft.com/office/officeart/2005/8/layout/orgChart1"/>
    <dgm:cxn modelId="{D88831C3-E9BD-424C-B2B6-0AFD9C71B413}" type="presParOf" srcId="{F324FB99-E565-440D-9319-A2867DA87756}" destId="{AB22B6A5-BFAD-4E5F-BED0-C002FA69FEEF}" srcOrd="1" destOrd="0" presId="urn:microsoft.com/office/officeart/2005/8/layout/orgChart1"/>
    <dgm:cxn modelId="{07C1C631-F090-49F8-A292-2D568701B7DA}" type="presParOf" srcId="{9B84C5AA-6259-445A-8F7A-6D366FCBB4AD}" destId="{16186025-4BC6-46E2-97F6-F9084F02632D}" srcOrd="1" destOrd="0" presId="urn:microsoft.com/office/officeart/2005/8/layout/orgChart1"/>
    <dgm:cxn modelId="{286168DA-5A5C-48F4-824C-0CCCF2692FD6}" type="presParOf" srcId="{16186025-4BC6-46E2-97F6-F9084F02632D}" destId="{AEDC7120-FE6F-49D8-95F2-AB1B2B6AC9A8}" srcOrd="0" destOrd="0" presId="urn:microsoft.com/office/officeart/2005/8/layout/orgChart1"/>
    <dgm:cxn modelId="{5ADE938F-B49E-4471-BEDB-86BEC9DBFD97}" type="presParOf" srcId="{16186025-4BC6-46E2-97F6-F9084F02632D}" destId="{F65159AB-B6AE-4C58-BE85-DB4966F15FBA}" srcOrd="1" destOrd="0" presId="urn:microsoft.com/office/officeart/2005/8/layout/orgChart1"/>
    <dgm:cxn modelId="{DB6C76CF-3C93-46E6-8010-C806764FDEE2}" type="presParOf" srcId="{F65159AB-B6AE-4C58-BE85-DB4966F15FBA}" destId="{4413A7CD-B07B-4481-95F7-63264BEB8326}" srcOrd="0" destOrd="0" presId="urn:microsoft.com/office/officeart/2005/8/layout/orgChart1"/>
    <dgm:cxn modelId="{F30BE408-5CC5-44BC-A110-0FBE2AF72BFC}" type="presParOf" srcId="{4413A7CD-B07B-4481-95F7-63264BEB8326}" destId="{6E033C69-6BA8-4812-AE4E-0022A986E944}" srcOrd="0" destOrd="0" presId="urn:microsoft.com/office/officeart/2005/8/layout/orgChart1"/>
    <dgm:cxn modelId="{ECB93D37-7CBC-4427-9A7F-3AD7E5294ACE}" type="presParOf" srcId="{4413A7CD-B07B-4481-95F7-63264BEB8326}" destId="{20C564F4-BF5C-4321-B86B-65391CEDEFC7}" srcOrd="1" destOrd="0" presId="urn:microsoft.com/office/officeart/2005/8/layout/orgChart1"/>
    <dgm:cxn modelId="{F41DB602-EB3E-442A-9016-C5E76E3B5468}" type="presParOf" srcId="{F65159AB-B6AE-4C58-BE85-DB4966F15FBA}" destId="{7C0A51FE-5187-4FBA-A9F6-DFFAA1B3DD3E}" srcOrd="1" destOrd="0" presId="urn:microsoft.com/office/officeart/2005/8/layout/orgChart1"/>
    <dgm:cxn modelId="{C0223839-73F7-4057-9ED3-F366CB0B1962}" type="presParOf" srcId="{F65159AB-B6AE-4C58-BE85-DB4966F15FBA}" destId="{A5F1F6CB-B812-4FEA-ACD0-E838992C8274}" srcOrd="2" destOrd="0" presId="urn:microsoft.com/office/officeart/2005/8/layout/orgChart1"/>
    <dgm:cxn modelId="{F79370C5-7767-4F5F-A7A2-5040117BF485}" type="presParOf" srcId="{9B84C5AA-6259-445A-8F7A-6D366FCBB4AD}" destId="{82355405-192E-42E7-B905-7A6FE845C6D9}" srcOrd="2" destOrd="0" presId="urn:microsoft.com/office/officeart/2005/8/layout/orgChart1"/>
    <dgm:cxn modelId="{8E283A63-C221-4EB2-8A1F-38AF490793CD}" type="presParOf" srcId="{EC72B6B4-B63E-4FE2-8CC2-5FA221770366}" destId="{B562ECC0-9994-4B01-9E77-D5C13C496118}" srcOrd="2" destOrd="0" presId="urn:microsoft.com/office/officeart/2005/8/layout/orgChart1"/>
    <dgm:cxn modelId="{1573EBB1-4B5D-44A7-8FD0-F66FA45DC69F}" type="presParOf" srcId="{EC72B6B4-B63E-4FE2-8CC2-5FA221770366}" destId="{E18799E9-9DA7-423F-B7B3-369EFE76B3B6}" srcOrd="3" destOrd="0" presId="urn:microsoft.com/office/officeart/2005/8/layout/orgChart1"/>
    <dgm:cxn modelId="{16174190-347A-4E76-BCF2-0C8DFB08B0DC}" type="presParOf" srcId="{E18799E9-9DA7-423F-B7B3-369EFE76B3B6}" destId="{354F8417-6C70-4131-8450-E52EDD2EFA17}" srcOrd="0" destOrd="0" presId="urn:microsoft.com/office/officeart/2005/8/layout/orgChart1"/>
    <dgm:cxn modelId="{C3A07C1F-C4C2-4676-B312-9DC80674A4DA}" type="presParOf" srcId="{354F8417-6C70-4131-8450-E52EDD2EFA17}" destId="{67A44139-B3F0-4118-89E8-A44A0D503C36}" srcOrd="0" destOrd="0" presId="urn:microsoft.com/office/officeart/2005/8/layout/orgChart1"/>
    <dgm:cxn modelId="{940CA599-85C3-4F49-984B-22451C562870}" type="presParOf" srcId="{354F8417-6C70-4131-8450-E52EDD2EFA17}" destId="{B2267437-59D9-4F70-9854-AF295901641A}" srcOrd="1" destOrd="0" presId="urn:microsoft.com/office/officeart/2005/8/layout/orgChart1"/>
    <dgm:cxn modelId="{97B88CED-4E1F-43ED-AE41-A03B45241C01}" type="presParOf" srcId="{E18799E9-9DA7-423F-B7B3-369EFE76B3B6}" destId="{A6AF8EE9-DBFC-447B-8940-E76A065FD97B}" srcOrd="1" destOrd="0" presId="urn:microsoft.com/office/officeart/2005/8/layout/orgChart1"/>
    <dgm:cxn modelId="{6024169F-6FCD-4016-B7A8-972B0F19AE9F}" type="presParOf" srcId="{A6AF8EE9-DBFC-447B-8940-E76A065FD97B}" destId="{6D3A634C-FD35-4F86-A796-3DD5919F86EB}" srcOrd="0" destOrd="0" presId="urn:microsoft.com/office/officeart/2005/8/layout/orgChart1"/>
    <dgm:cxn modelId="{2C156750-0854-4480-ACE2-94D76910810C}" type="presParOf" srcId="{A6AF8EE9-DBFC-447B-8940-E76A065FD97B}" destId="{4B03DC64-2348-4C35-8557-3DC745770699}" srcOrd="1" destOrd="0" presId="urn:microsoft.com/office/officeart/2005/8/layout/orgChart1"/>
    <dgm:cxn modelId="{19F0D2E0-A921-4075-A282-7C624E35EC3A}" type="presParOf" srcId="{4B03DC64-2348-4C35-8557-3DC745770699}" destId="{EEB90F04-A0EB-4C04-B420-2EF090561DAF}" srcOrd="0" destOrd="0" presId="urn:microsoft.com/office/officeart/2005/8/layout/orgChart1"/>
    <dgm:cxn modelId="{C1C80AD8-4B3F-4024-A081-6BA5E24E8854}" type="presParOf" srcId="{EEB90F04-A0EB-4C04-B420-2EF090561DAF}" destId="{4B399877-997D-4C5A-AE6B-CFCEE605BB65}" srcOrd="0" destOrd="0" presId="urn:microsoft.com/office/officeart/2005/8/layout/orgChart1"/>
    <dgm:cxn modelId="{FFDE451A-602D-4463-AEED-30E1266095C2}" type="presParOf" srcId="{EEB90F04-A0EB-4C04-B420-2EF090561DAF}" destId="{5824EBDA-4B5C-4410-BDF7-EDBCCC6DE89B}" srcOrd="1" destOrd="0" presId="urn:microsoft.com/office/officeart/2005/8/layout/orgChart1"/>
    <dgm:cxn modelId="{7B02A244-9540-4160-B73E-DE7266113F81}" type="presParOf" srcId="{4B03DC64-2348-4C35-8557-3DC745770699}" destId="{A0FE2A0F-F998-49FE-8C93-B3A94C194044}" srcOrd="1" destOrd="0" presId="urn:microsoft.com/office/officeart/2005/8/layout/orgChart1"/>
    <dgm:cxn modelId="{A9B5CC31-D384-4143-9C38-6983814F1715}" type="presParOf" srcId="{A0FE2A0F-F998-49FE-8C93-B3A94C194044}" destId="{0B841EBD-1CB9-4926-9414-31830C10A48C}" srcOrd="0" destOrd="0" presId="urn:microsoft.com/office/officeart/2005/8/layout/orgChart1"/>
    <dgm:cxn modelId="{D7A41997-D6CC-47EB-A544-CDC7D4577118}" type="presParOf" srcId="{A0FE2A0F-F998-49FE-8C93-B3A94C194044}" destId="{CEF4526B-2E15-4BA7-B296-37BEFAE00285}" srcOrd="1" destOrd="0" presId="urn:microsoft.com/office/officeart/2005/8/layout/orgChart1"/>
    <dgm:cxn modelId="{4D7C9FCB-5FCD-4DBC-97AB-92D57C197BFC}" type="presParOf" srcId="{CEF4526B-2E15-4BA7-B296-37BEFAE00285}" destId="{010D02BF-3B09-49FE-872F-0974596CF5F9}" srcOrd="0" destOrd="0" presId="urn:microsoft.com/office/officeart/2005/8/layout/orgChart1"/>
    <dgm:cxn modelId="{34AFB11E-3351-4EAD-81FA-C4119D729E7C}" type="presParOf" srcId="{010D02BF-3B09-49FE-872F-0974596CF5F9}" destId="{5A06C29A-3126-48BF-B144-189375FD0329}" srcOrd="0" destOrd="0" presId="urn:microsoft.com/office/officeart/2005/8/layout/orgChart1"/>
    <dgm:cxn modelId="{D92901C5-F4FB-430B-A34F-2E07087420E4}" type="presParOf" srcId="{010D02BF-3B09-49FE-872F-0974596CF5F9}" destId="{23F80813-65D3-4BC5-96C1-9A5D5AEADB97}" srcOrd="1" destOrd="0" presId="urn:microsoft.com/office/officeart/2005/8/layout/orgChart1"/>
    <dgm:cxn modelId="{B74775C6-40D0-43FE-A5B3-6E3028AB104D}" type="presParOf" srcId="{CEF4526B-2E15-4BA7-B296-37BEFAE00285}" destId="{B26E3E9A-5407-4F8C-AA62-043DE696085D}" srcOrd="1" destOrd="0" presId="urn:microsoft.com/office/officeart/2005/8/layout/orgChart1"/>
    <dgm:cxn modelId="{4AD9B3A2-B8B3-4184-B881-6EE9B65E9AEF}" type="presParOf" srcId="{CEF4526B-2E15-4BA7-B296-37BEFAE00285}" destId="{727E4B89-A828-454D-AE78-DEDE4A0C1473}" srcOrd="2" destOrd="0" presId="urn:microsoft.com/office/officeart/2005/8/layout/orgChart1"/>
    <dgm:cxn modelId="{4212E4D8-AE16-42C3-9338-159F004DD70C}" type="presParOf" srcId="{4B03DC64-2348-4C35-8557-3DC745770699}" destId="{423AF3AB-9A6B-4A1D-8AF9-C44D00B522E0}" srcOrd="2" destOrd="0" presId="urn:microsoft.com/office/officeart/2005/8/layout/orgChart1"/>
    <dgm:cxn modelId="{511C0A32-6529-4523-B750-5B25FDAA3AFA}" type="presParOf" srcId="{A6AF8EE9-DBFC-447B-8940-E76A065FD97B}" destId="{2BC6CEE4-3F67-4FA6-8639-65EC4CCFF4D9}" srcOrd="2" destOrd="0" presId="urn:microsoft.com/office/officeart/2005/8/layout/orgChart1"/>
    <dgm:cxn modelId="{E6A92F1C-AACE-4F3F-8A39-2CDBD2AEE1BC}" type="presParOf" srcId="{A6AF8EE9-DBFC-447B-8940-E76A065FD97B}" destId="{56EAD692-CF12-4F08-9E91-48B2A708FB71}" srcOrd="3" destOrd="0" presId="urn:microsoft.com/office/officeart/2005/8/layout/orgChart1"/>
    <dgm:cxn modelId="{7CE46739-BDD5-45FC-AFA8-7D7FCD4C4762}" type="presParOf" srcId="{56EAD692-CF12-4F08-9E91-48B2A708FB71}" destId="{17485795-B1F1-44AB-A6F9-533EF86E010F}" srcOrd="0" destOrd="0" presId="urn:microsoft.com/office/officeart/2005/8/layout/orgChart1"/>
    <dgm:cxn modelId="{9D7A58BE-820A-4976-8FA3-D0408067F584}" type="presParOf" srcId="{17485795-B1F1-44AB-A6F9-533EF86E010F}" destId="{1B4F947A-69EB-46FF-A1EA-7664283D213E}" srcOrd="0" destOrd="0" presId="urn:microsoft.com/office/officeart/2005/8/layout/orgChart1"/>
    <dgm:cxn modelId="{A81BFBFE-51C7-4756-808C-78F0213786A0}" type="presParOf" srcId="{17485795-B1F1-44AB-A6F9-533EF86E010F}" destId="{C553D0C6-AEE4-4F65-8DAC-62449D94D6A7}" srcOrd="1" destOrd="0" presId="urn:microsoft.com/office/officeart/2005/8/layout/orgChart1"/>
    <dgm:cxn modelId="{8CB4FA2E-3E06-4B94-B3E1-3495E81FCD8B}" type="presParOf" srcId="{56EAD692-CF12-4F08-9E91-48B2A708FB71}" destId="{704B6FE3-1A93-464C-BD7D-26786EA03069}" srcOrd="1" destOrd="0" presId="urn:microsoft.com/office/officeart/2005/8/layout/orgChart1"/>
    <dgm:cxn modelId="{3E15F3F4-A66A-41A0-B306-109224E17545}" type="presParOf" srcId="{704B6FE3-1A93-464C-BD7D-26786EA03069}" destId="{7F79E16A-DCA2-4B41-B9FB-041F5F8C0836}" srcOrd="0" destOrd="0" presId="urn:microsoft.com/office/officeart/2005/8/layout/orgChart1"/>
    <dgm:cxn modelId="{6A93347F-043C-4726-ABB5-F2C6F5995CD2}" type="presParOf" srcId="{704B6FE3-1A93-464C-BD7D-26786EA03069}" destId="{7AB126A4-7DFD-4B1F-AAA9-8F64B31288B9}" srcOrd="1" destOrd="0" presId="urn:microsoft.com/office/officeart/2005/8/layout/orgChart1"/>
    <dgm:cxn modelId="{8BDD1B25-EAFE-4FD7-A2C4-9AA2D465BBAF}" type="presParOf" srcId="{7AB126A4-7DFD-4B1F-AAA9-8F64B31288B9}" destId="{DA546668-493A-41C6-997B-5D5FCC12835E}" srcOrd="0" destOrd="0" presId="urn:microsoft.com/office/officeart/2005/8/layout/orgChart1"/>
    <dgm:cxn modelId="{58EC01E7-A223-4089-B71A-1FC3E275BF83}" type="presParOf" srcId="{DA546668-493A-41C6-997B-5D5FCC12835E}" destId="{024F55D6-668B-49E1-A8E7-A40E7D340D0A}" srcOrd="0" destOrd="0" presId="urn:microsoft.com/office/officeart/2005/8/layout/orgChart1"/>
    <dgm:cxn modelId="{733945B1-54EA-47A3-9282-F935FC9E9A02}" type="presParOf" srcId="{DA546668-493A-41C6-997B-5D5FCC12835E}" destId="{8D31A8FA-55C8-4B2E-BA13-7C6E21696CC9}" srcOrd="1" destOrd="0" presId="urn:microsoft.com/office/officeart/2005/8/layout/orgChart1"/>
    <dgm:cxn modelId="{738E7559-D675-451A-BA53-5879C5216F34}" type="presParOf" srcId="{7AB126A4-7DFD-4B1F-AAA9-8F64B31288B9}" destId="{A0765EF4-6FED-4F03-A673-4F03D12039A5}" srcOrd="1" destOrd="0" presId="urn:microsoft.com/office/officeart/2005/8/layout/orgChart1"/>
    <dgm:cxn modelId="{2747FB35-FAC3-43B8-8007-4BDC35CC444F}" type="presParOf" srcId="{7AB126A4-7DFD-4B1F-AAA9-8F64B31288B9}" destId="{479FBDC3-5285-4024-B098-337ED3F183B2}" srcOrd="2" destOrd="0" presId="urn:microsoft.com/office/officeart/2005/8/layout/orgChart1"/>
    <dgm:cxn modelId="{ADFB63A2-5A4E-4935-9B84-E6E2A90D8A1E}" type="presParOf" srcId="{56EAD692-CF12-4F08-9E91-48B2A708FB71}" destId="{DA9CB0A7-0D84-4FCC-8CAA-C663566F179D}" srcOrd="2" destOrd="0" presId="urn:microsoft.com/office/officeart/2005/8/layout/orgChart1"/>
    <dgm:cxn modelId="{E416DE66-77F2-45E1-9901-C089AF63DBBD}" type="presParOf" srcId="{A6AF8EE9-DBFC-447B-8940-E76A065FD97B}" destId="{F396F561-0193-4DAC-94AB-FC3EEAD38895}" srcOrd="4" destOrd="0" presId="urn:microsoft.com/office/officeart/2005/8/layout/orgChart1"/>
    <dgm:cxn modelId="{14C04241-5B95-438B-B737-60D447795D4B}" type="presParOf" srcId="{A6AF8EE9-DBFC-447B-8940-E76A065FD97B}" destId="{576BA9E2-9384-4C0F-A8DE-0AB334418AF7}" srcOrd="5" destOrd="0" presId="urn:microsoft.com/office/officeart/2005/8/layout/orgChart1"/>
    <dgm:cxn modelId="{50D0AD21-4682-46BC-9A2E-6C8C15CE38C3}" type="presParOf" srcId="{576BA9E2-9384-4C0F-A8DE-0AB334418AF7}" destId="{6FAAD041-B297-4EFA-9523-2E8BFFA4D2D7}" srcOrd="0" destOrd="0" presId="urn:microsoft.com/office/officeart/2005/8/layout/orgChart1"/>
    <dgm:cxn modelId="{8611F78A-7378-457F-8194-6F611AD7E54E}" type="presParOf" srcId="{6FAAD041-B297-4EFA-9523-2E8BFFA4D2D7}" destId="{567C9F04-89A6-446A-9930-6A15977E58BC}" srcOrd="0" destOrd="0" presId="urn:microsoft.com/office/officeart/2005/8/layout/orgChart1"/>
    <dgm:cxn modelId="{67F9DD4E-2943-4E39-83F2-B0A65A8AB0C0}" type="presParOf" srcId="{6FAAD041-B297-4EFA-9523-2E8BFFA4D2D7}" destId="{E3F832A4-0FD8-482A-82E7-9C0BC4E29954}" srcOrd="1" destOrd="0" presId="urn:microsoft.com/office/officeart/2005/8/layout/orgChart1"/>
    <dgm:cxn modelId="{E62D5360-6774-4AAF-AE44-7D40539AA0B2}" type="presParOf" srcId="{576BA9E2-9384-4C0F-A8DE-0AB334418AF7}" destId="{0AFCAC7A-4881-4B5E-B26A-7386E044366F}" srcOrd="1" destOrd="0" presId="urn:microsoft.com/office/officeart/2005/8/layout/orgChart1"/>
    <dgm:cxn modelId="{788090B1-235E-4613-9312-7E0C1FF3D5AB}" type="presParOf" srcId="{0AFCAC7A-4881-4B5E-B26A-7386E044366F}" destId="{A56E760A-4B69-4701-AE07-CDC836D2FC5F}" srcOrd="0" destOrd="0" presId="urn:microsoft.com/office/officeart/2005/8/layout/orgChart1"/>
    <dgm:cxn modelId="{153579A0-1287-4886-B117-987CB4F1B04A}" type="presParOf" srcId="{0AFCAC7A-4881-4B5E-B26A-7386E044366F}" destId="{DFC4DA75-EEA4-4418-A59F-52FFC71FA29F}" srcOrd="1" destOrd="0" presId="urn:microsoft.com/office/officeart/2005/8/layout/orgChart1"/>
    <dgm:cxn modelId="{8148E351-A6FD-4E60-BDBE-D612AD6B3EEF}" type="presParOf" srcId="{DFC4DA75-EEA4-4418-A59F-52FFC71FA29F}" destId="{95087660-D0E6-475E-8E1B-E152A02BFB42}" srcOrd="0" destOrd="0" presId="urn:microsoft.com/office/officeart/2005/8/layout/orgChart1"/>
    <dgm:cxn modelId="{1A76B649-5212-450F-B2D5-32ED58B39628}" type="presParOf" srcId="{95087660-D0E6-475E-8E1B-E152A02BFB42}" destId="{C8DE60D5-3BFA-4B18-89C8-1F812DCD88C1}" srcOrd="0" destOrd="0" presId="urn:microsoft.com/office/officeart/2005/8/layout/orgChart1"/>
    <dgm:cxn modelId="{F29138AE-D55A-47A0-BF9D-7BB5584F0F27}" type="presParOf" srcId="{95087660-D0E6-475E-8E1B-E152A02BFB42}" destId="{4386C66D-20E4-49EB-959B-5421CC1E3F82}" srcOrd="1" destOrd="0" presId="urn:microsoft.com/office/officeart/2005/8/layout/orgChart1"/>
    <dgm:cxn modelId="{359B63EF-14A6-4DAD-B669-F9E25969DF87}" type="presParOf" srcId="{DFC4DA75-EEA4-4418-A59F-52FFC71FA29F}" destId="{BA3FC4F3-FEC8-4F42-82C5-08FE87E50440}" srcOrd="1" destOrd="0" presId="urn:microsoft.com/office/officeart/2005/8/layout/orgChart1"/>
    <dgm:cxn modelId="{2E39440E-4BA5-4EA0-81B7-5FBB872C4608}" type="presParOf" srcId="{DFC4DA75-EEA4-4418-A59F-52FFC71FA29F}" destId="{64677F8C-55CB-4D78-B640-403683A14DE4}" srcOrd="2" destOrd="0" presId="urn:microsoft.com/office/officeart/2005/8/layout/orgChart1"/>
    <dgm:cxn modelId="{08438503-CB4A-480D-993A-2B09A5FED86B}" type="presParOf" srcId="{576BA9E2-9384-4C0F-A8DE-0AB334418AF7}" destId="{4CEE377B-F75A-4927-843A-862BDB1E60D3}" srcOrd="2" destOrd="0" presId="urn:microsoft.com/office/officeart/2005/8/layout/orgChart1"/>
    <dgm:cxn modelId="{D6128351-D12F-4C1F-A438-B60093D91D7C}" type="presParOf" srcId="{E18799E9-9DA7-423F-B7B3-369EFE76B3B6}" destId="{430C728D-004C-49FD-A0C1-71CD6E772786}" srcOrd="2" destOrd="0" presId="urn:microsoft.com/office/officeart/2005/8/layout/orgChart1"/>
    <dgm:cxn modelId="{9D2B99AA-C846-4ACE-B1D7-5F54B86F76D3}" type="presParOf" srcId="{25A00B3E-FEA8-439F-999E-8DB6BC95DBC0}" destId="{B87F60ED-85BE-4872-BA6E-CDCB9CBDC6A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713240BC-7254-42CA-ACE1-676169A583B7}" type="doc">
      <dgm:prSet loTypeId="urn:microsoft.com/office/officeart/2008/layout/HorizontalMultiLevelHierarchy" loCatId="hierarchy" qsTypeId="urn:microsoft.com/office/officeart/2005/8/quickstyle/simple3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88BFFA4B-F458-45ED-B26D-098B81EFA566}">
      <dgm:prSet phldrT="[Text]"/>
      <dgm:spPr/>
      <dgm:t>
        <a:bodyPr/>
        <a:lstStyle/>
        <a:p>
          <a:r>
            <a:rPr lang="en-US" dirty="0" smtClean="0"/>
            <a:t>Pattern</a:t>
          </a:r>
          <a:endParaRPr lang="en-US" dirty="0"/>
        </a:p>
      </dgm:t>
    </dgm:pt>
    <dgm:pt modelId="{F85E66D1-3A13-4D6A-BA88-363859CADC91}" type="parTrans" cxnId="{B2093F98-3ED8-4744-B167-8D730F8B27DD}">
      <dgm:prSet/>
      <dgm:spPr/>
      <dgm:t>
        <a:bodyPr/>
        <a:lstStyle/>
        <a:p>
          <a:endParaRPr lang="en-US"/>
        </a:p>
      </dgm:t>
    </dgm:pt>
    <dgm:pt modelId="{FDACC490-08DF-456F-9B26-F2F3E33828CD}" type="sibTrans" cxnId="{B2093F98-3ED8-4744-B167-8D730F8B27DD}">
      <dgm:prSet/>
      <dgm:spPr/>
      <dgm:t>
        <a:bodyPr/>
        <a:lstStyle/>
        <a:p>
          <a:endParaRPr lang="en-US"/>
        </a:p>
      </dgm:t>
    </dgm:pt>
    <dgm:pt modelId="{E718E1F6-9461-4DCD-97E2-0B839EB8091E}">
      <dgm:prSet phldrT="[Text]" custT="1"/>
      <dgm:spPr/>
      <dgm:t>
        <a:bodyPr/>
        <a:lstStyle/>
        <a:p>
          <a:r>
            <a:rPr lang="en-US" sz="3200" dirty="0" smtClean="0"/>
            <a:t>Context</a:t>
          </a:r>
          <a:r>
            <a:rPr lang="en-US" sz="2100" dirty="0" smtClean="0"/>
            <a:t/>
          </a:r>
          <a:br>
            <a:rPr lang="en-US" sz="2100" dirty="0" smtClean="0"/>
          </a:br>
          <a:r>
            <a:rPr lang="en-US" sz="2100" dirty="0" smtClean="0"/>
            <a:t/>
          </a:r>
          <a:br>
            <a:rPr lang="en-US" sz="2100" dirty="0" smtClean="0"/>
          </a:br>
          <a:r>
            <a:rPr lang="en-US" altLang="en-US" sz="2100" dirty="0" smtClean="0">
              <a:latin typeface="Arial" charset="0"/>
            </a:rPr>
            <a:t>A situation giving rise to a problem</a:t>
          </a:r>
          <a:endParaRPr lang="en-US" sz="2100" dirty="0"/>
        </a:p>
      </dgm:t>
    </dgm:pt>
    <dgm:pt modelId="{179D531C-BB1D-4493-9DE1-03AA197AA21D}" type="parTrans" cxnId="{4C0F9F7C-C1B1-4ACB-8C26-33CBF7DC658C}">
      <dgm:prSet/>
      <dgm:spPr/>
      <dgm:t>
        <a:bodyPr/>
        <a:lstStyle/>
        <a:p>
          <a:endParaRPr lang="en-US"/>
        </a:p>
      </dgm:t>
    </dgm:pt>
    <dgm:pt modelId="{C2C5EABE-9A9B-4160-B6D0-1F154E8D419F}" type="sibTrans" cxnId="{4C0F9F7C-C1B1-4ACB-8C26-33CBF7DC658C}">
      <dgm:prSet/>
      <dgm:spPr/>
      <dgm:t>
        <a:bodyPr/>
        <a:lstStyle/>
        <a:p>
          <a:endParaRPr lang="en-US"/>
        </a:p>
      </dgm:t>
    </dgm:pt>
    <dgm:pt modelId="{9B5D638C-E7C9-4A88-A0AE-C4BD51A95F1D}">
      <dgm:prSet phldrT="[Text]" custT="1"/>
      <dgm:spPr/>
      <dgm:t>
        <a:bodyPr/>
        <a:lstStyle/>
        <a:p>
          <a:r>
            <a:rPr lang="en-US" sz="3200" dirty="0" smtClean="0"/>
            <a:t>Problem</a:t>
          </a:r>
          <a:r>
            <a:rPr lang="en-US" sz="2100" dirty="0" smtClean="0"/>
            <a:t/>
          </a:r>
          <a:br>
            <a:rPr lang="en-US" sz="2100" dirty="0" smtClean="0"/>
          </a:br>
          <a:r>
            <a:rPr lang="en-US" sz="2100" dirty="0" smtClean="0"/>
            <a:t/>
          </a:r>
          <a:br>
            <a:rPr lang="en-US" sz="2100" dirty="0" smtClean="0"/>
          </a:br>
          <a:r>
            <a:rPr lang="en-US" altLang="en-US" sz="2100" dirty="0" smtClean="0">
              <a:latin typeface="Arial" charset="0"/>
            </a:rPr>
            <a:t>The recurring problem arising in that context</a:t>
          </a:r>
          <a:endParaRPr lang="en-US" sz="2100" dirty="0"/>
        </a:p>
      </dgm:t>
    </dgm:pt>
    <dgm:pt modelId="{EE0BE385-8F69-4A70-9936-4EBD552FBE0B}" type="parTrans" cxnId="{619ECF92-EC19-4D86-9B14-155162240CA5}">
      <dgm:prSet/>
      <dgm:spPr/>
      <dgm:t>
        <a:bodyPr/>
        <a:lstStyle/>
        <a:p>
          <a:endParaRPr lang="en-US"/>
        </a:p>
      </dgm:t>
    </dgm:pt>
    <dgm:pt modelId="{370BD509-CE57-4FEF-B859-68916CDEDAE8}" type="sibTrans" cxnId="{619ECF92-EC19-4D86-9B14-155162240CA5}">
      <dgm:prSet/>
      <dgm:spPr/>
      <dgm:t>
        <a:bodyPr/>
        <a:lstStyle/>
        <a:p>
          <a:endParaRPr lang="en-US"/>
        </a:p>
      </dgm:t>
    </dgm:pt>
    <dgm:pt modelId="{BDCD17B1-8F5E-4A66-9B8A-368E4767B97D}">
      <dgm:prSet phldrT="[Text]" custT="1"/>
      <dgm:spPr/>
      <dgm:t>
        <a:bodyPr/>
        <a:lstStyle/>
        <a:p>
          <a:r>
            <a:rPr lang="en-US" sz="3200" dirty="0" smtClean="0"/>
            <a:t>Solution</a:t>
          </a:r>
          <a:r>
            <a:rPr lang="en-US" sz="2100" dirty="0" smtClean="0"/>
            <a:t/>
          </a:r>
          <a:br>
            <a:rPr lang="en-US" sz="2100" dirty="0" smtClean="0"/>
          </a:br>
          <a:r>
            <a:rPr lang="en-US" sz="2100" dirty="0" smtClean="0"/>
            <a:t/>
          </a:r>
          <a:br>
            <a:rPr lang="en-US" sz="2100" dirty="0" smtClean="0"/>
          </a:br>
          <a:r>
            <a:rPr lang="en-US" altLang="en-US" sz="2100" dirty="0" smtClean="0">
              <a:latin typeface="Arial" charset="0"/>
            </a:rPr>
            <a:t>A proven solution of the problem</a:t>
          </a:r>
          <a:endParaRPr lang="en-US" sz="2100" dirty="0"/>
        </a:p>
      </dgm:t>
    </dgm:pt>
    <dgm:pt modelId="{D6BE15EE-FED5-41EA-A9A4-53A74CE5C59A}" type="parTrans" cxnId="{93AF4489-3528-43AD-9D0C-C3558B6C2472}">
      <dgm:prSet/>
      <dgm:spPr/>
      <dgm:t>
        <a:bodyPr/>
        <a:lstStyle/>
        <a:p>
          <a:endParaRPr lang="en-US"/>
        </a:p>
      </dgm:t>
    </dgm:pt>
    <dgm:pt modelId="{BFC51EB1-2DE9-4204-BA4B-E1079A9E4588}" type="sibTrans" cxnId="{93AF4489-3528-43AD-9D0C-C3558B6C2472}">
      <dgm:prSet/>
      <dgm:spPr/>
      <dgm:t>
        <a:bodyPr/>
        <a:lstStyle/>
        <a:p>
          <a:endParaRPr lang="en-US"/>
        </a:p>
      </dgm:t>
    </dgm:pt>
    <dgm:pt modelId="{896F885B-50E5-48AF-9B5F-E1FD40F0D1C8}" type="pres">
      <dgm:prSet presAssocID="{713240BC-7254-42CA-ACE1-676169A583B7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35F5A59-8D5D-4D18-9893-539528421A66}" type="pres">
      <dgm:prSet presAssocID="{88BFFA4B-F458-45ED-B26D-098B81EFA566}" presName="root1" presStyleCnt="0"/>
      <dgm:spPr/>
    </dgm:pt>
    <dgm:pt modelId="{A89449E4-1146-4354-84F1-7099A3EB713B}" type="pres">
      <dgm:prSet presAssocID="{88BFFA4B-F458-45ED-B26D-098B81EFA566}" presName="LevelOneTextNode" presStyleLbl="node0" presStyleIdx="0" presStyleCnt="1" custLinFactNeighborX="-9926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F5B4A8B-A743-4E53-B572-A33DB9F9A0F6}" type="pres">
      <dgm:prSet presAssocID="{88BFFA4B-F458-45ED-B26D-098B81EFA566}" presName="level2hierChild" presStyleCnt="0"/>
      <dgm:spPr/>
    </dgm:pt>
    <dgm:pt modelId="{901C58B6-D4C3-42C0-B1A9-A318EC5C1909}" type="pres">
      <dgm:prSet presAssocID="{179D531C-BB1D-4493-9DE1-03AA197AA21D}" presName="conn2-1" presStyleLbl="parChTrans1D2" presStyleIdx="0" presStyleCnt="3"/>
      <dgm:spPr/>
      <dgm:t>
        <a:bodyPr/>
        <a:lstStyle/>
        <a:p>
          <a:endParaRPr lang="en-US"/>
        </a:p>
      </dgm:t>
    </dgm:pt>
    <dgm:pt modelId="{88D398E0-9763-4605-8E01-2439C1702CED}" type="pres">
      <dgm:prSet presAssocID="{179D531C-BB1D-4493-9DE1-03AA197AA21D}" presName="connTx" presStyleLbl="parChTrans1D2" presStyleIdx="0" presStyleCnt="3"/>
      <dgm:spPr/>
      <dgm:t>
        <a:bodyPr/>
        <a:lstStyle/>
        <a:p>
          <a:endParaRPr lang="en-US"/>
        </a:p>
      </dgm:t>
    </dgm:pt>
    <dgm:pt modelId="{9DCFDCD9-6823-4158-8AE4-61F8DA7F19C7}" type="pres">
      <dgm:prSet presAssocID="{E718E1F6-9461-4DCD-97E2-0B839EB8091E}" presName="root2" presStyleCnt="0"/>
      <dgm:spPr/>
    </dgm:pt>
    <dgm:pt modelId="{A7D0D01A-747E-485B-9884-F3644F0A0911}" type="pres">
      <dgm:prSet presAssocID="{E718E1F6-9461-4DCD-97E2-0B839EB8091E}" presName="LevelTwoTextNode" presStyleLbl="node2" presStyleIdx="0" presStyleCnt="3" custScaleX="161051" custScaleY="133100" custLinFactNeighborX="15" custLinFactNeighborY="-3902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C30285B-643D-4868-857A-B6A1A9E46837}" type="pres">
      <dgm:prSet presAssocID="{E718E1F6-9461-4DCD-97E2-0B839EB8091E}" presName="level3hierChild" presStyleCnt="0"/>
      <dgm:spPr/>
    </dgm:pt>
    <dgm:pt modelId="{ABD4C1E9-588C-419D-B505-3A4861EE8978}" type="pres">
      <dgm:prSet presAssocID="{EE0BE385-8F69-4A70-9936-4EBD552FBE0B}" presName="conn2-1" presStyleLbl="parChTrans1D2" presStyleIdx="1" presStyleCnt="3"/>
      <dgm:spPr/>
      <dgm:t>
        <a:bodyPr/>
        <a:lstStyle/>
        <a:p>
          <a:endParaRPr lang="en-US"/>
        </a:p>
      </dgm:t>
    </dgm:pt>
    <dgm:pt modelId="{5D4ECA22-CB20-46CE-B726-0297CF47411C}" type="pres">
      <dgm:prSet presAssocID="{EE0BE385-8F69-4A70-9936-4EBD552FBE0B}" presName="connTx" presStyleLbl="parChTrans1D2" presStyleIdx="1" presStyleCnt="3"/>
      <dgm:spPr/>
      <dgm:t>
        <a:bodyPr/>
        <a:lstStyle/>
        <a:p>
          <a:endParaRPr lang="en-US"/>
        </a:p>
      </dgm:t>
    </dgm:pt>
    <dgm:pt modelId="{13467303-1A23-4E1E-AEEB-B04133D83E45}" type="pres">
      <dgm:prSet presAssocID="{9B5D638C-E7C9-4A88-A0AE-C4BD51A95F1D}" presName="root2" presStyleCnt="0"/>
      <dgm:spPr/>
    </dgm:pt>
    <dgm:pt modelId="{32B5D929-3BEE-405C-B00E-21D168D16EF0}" type="pres">
      <dgm:prSet presAssocID="{9B5D638C-E7C9-4A88-A0AE-C4BD51A95F1D}" presName="LevelTwoTextNode" presStyleLbl="node2" presStyleIdx="1" presStyleCnt="3" custScaleX="161051" custScaleY="14641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02D7CCD-0F7F-4DD5-ACC9-206E67360039}" type="pres">
      <dgm:prSet presAssocID="{9B5D638C-E7C9-4A88-A0AE-C4BD51A95F1D}" presName="level3hierChild" presStyleCnt="0"/>
      <dgm:spPr/>
    </dgm:pt>
    <dgm:pt modelId="{7FA99352-2ABC-4B1E-BEF8-05CFD030734C}" type="pres">
      <dgm:prSet presAssocID="{D6BE15EE-FED5-41EA-A9A4-53A74CE5C59A}" presName="conn2-1" presStyleLbl="parChTrans1D2" presStyleIdx="2" presStyleCnt="3"/>
      <dgm:spPr/>
      <dgm:t>
        <a:bodyPr/>
        <a:lstStyle/>
        <a:p>
          <a:endParaRPr lang="en-US"/>
        </a:p>
      </dgm:t>
    </dgm:pt>
    <dgm:pt modelId="{3F455F23-C966-4298-A836-D98D1773E65C}" type="pres">
      <dgm:prSet presAssocID="{D6BE15EE-FED5-41EA-A9A4-53A74CE5C59A}" presName="connTx" presStyleLbl="parChTrans1D2" presStyleIdx="2" presStyleCnt="3"/>
      <dgm:spPr/>
      <dgm:t>
        <a:bodyPr/>
        <a:lstStyle/>
        <a:p>
          <a:endParaRPr lang="en-US"/>
        </a:p>
      </dgm:t>
    </dgm:pt>
    <dgm:pt modelId="{3E9372B9-5CD5-4A21-B344-366378F5053D}" type="pres">
      <dgm:prSet presAssocID="{BDCD17B1-8F5E-4A66-9B8A-368E4767B97D}" presName="root2" presStyleCnt="0"/>
      <dgm:spPr/>
    </dgm:pt>
    <dgm:pt modelId="{B00F73B5-CD69-475A-8A49-6923784175E6}" type="pres">
      <dgm:prSet presAssocID="{BDCD17B1-8F5E-4A66-9B8A-368E4767B97D}" presName="LevelTwoTextNode" presStyleLbl="node2" presStyleIdx="2" presStyleCnt="3" custScaleX="161051" custScaleY="133100" custLinFactNeighborY="3902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8939D6B-5886-4C69-B707-D25F3981531D}" type="pres">
      <dgm:prSet presAssocID="{BDCD17B1-8F5E-4A66-9B8A-368E4767B97D}" presName="level3hierChild" presStyleCnt="0"/>
      <dgm:spPr/>
    </dgm:pt>
  </dgm:ptLst>
  <dgm:cxnLst>
    <dgm:cxn modelId="{CC92250C-92D5-4755-86FE-B36C91E1B38F}" type="presOf" srcId="{D6BE15EE-FED5-41EA-A9A4-53A74CE5C59A}" destId="{3F455F23-C966-4298-A836-D98D1773E65C}" srcOrd="1" destOrd="0" presId="urn:microsoft.com/office/officeart/2008/layout/HorizontalMultiLevelHierarchy"/>
    <dgm:cxn modelId="{CEA92555-9BD3-4028-A4C8-A826E1CEFBCB}" type="presOf" srcId="{EE0BE385-8F69-4A70-9936-4EBD552FBE0B}" destId="{ABD4C1E9-588C-419D-B505-3A4861EE8978}" srcOrd="0" destOrd="0" presId="urn:microsoft.com/office/officeart/2008/layout/HorizontalMultiLevelHierarchy"/>
    <dgm:cxn modelId="{FAB4868A-C963-41A8-B377-5207177F9AAF}" type="presOf" srcId="{EE0BE385-8F69-4A70-9936-4EBD552FBE0B}" destId="{5D4ECA22-CB20-46CE-B726-0297CF47411C}" srcOrd="1" destOrd="0" presId="urn:microsoft.com/office/officeart/2008/layout/HorizontalMultiLevelHierarchy"/>
    <dgm:cxn modelId="{D7854FF9-80B2-4C05-9DF6-376BDB408F51}" type="presOf" srcId="{9B5D638C-E7C9-4A88-A0AE-C4BD51A95F1D}" destId="{32B5D929-3BEE-405C-B00E-21D168D16EF0}" srcOrd="0" destOrd="0" presId="urn:microsoft.com/office/officeart/2008/layout/HorizontalMultiLevelHierarchy"/>
    <dgm:cxn modelId="{1237543D-E219-4DAE-90C0-EA2FE2B979FA}" type="presOf" srcId="{179D531C-BB1D-4493-9DE1-03AA197AA21D}" destId="{901C58B6-D4C3-42C0-B1A9-A318EC5C1909}" srcOrd="0" destOrd="0" presId="urn:microsoft.com/office/officeart/2008/layout/HorizontalMultiLevelHierarchy"/>
    <dgm:cxn modelId="{AA6142F9-C9DC-4DB8-879C-C0B9B4850A75}" type="presOf" srcId="{BDCD17B1-8F5E-4A66-9B8A-368E4767B97D}" destId="{B00F73B5-CD69-475A-8A49-6923784175E6}" srcOrd="0" destOrd="0" presId="urn:microsoft.com/office/officeart/2008/layout/HorizontalMultiLevelHierarchy"/>
    <dgm:cxn modelId="{DF484BEC-A9FB-43AF-B115-FC61D88246B1}" type="presOf" srcId="{179D531C-BB1D-4493-9DE1-03AA197AA21D}" destId="{88D398E0-9763-4605-8E01-2439C1702CED}" srcOrd="1" destOrd="0" presId="urn:microsoft.com/office/officeart/2008/layout/HorizontalMultiLevelHierarchy"/>
    <dgm:cxn modelId="{39855E77-DA55-43F1-9F92-F884F23ECEAC}" type="presOf" srcId="{D6BE15EE-FED5-41EA-A9A4-53A74CE5C59A}" destId="{7FA99352-2ABC-4B1E-BEF8-05CFD030734C}" srcOrd="0" destOrd="0" presId="urn:microsoft.com/office/officeart/2008/layout/HorizontalMultiLevelHierarchy"/>
    <dgm:cxn modelId="{93AF4489-3528-43AD-9D0C-C3558B6C2472}" srcId="{88BFFA4B-F458-45ED-B26D-098B81EFA566}" destId="{BDCD17B1-8F5E-4A66-9B8A-368E4767B97D}" srcOrd="2" destOrd="0" parTransId="{D6BE15EE-FED5-41EA-A9A4-53A74CE5C59A}" sibTransId="{BFC51EB1-2DE9-4204-BA4B-E1079A9E4588}"/>
    <dgm:cxn modelId="{B2093F98-3ED8-4744-B167-8D730F8B27DD}" srcId="{713240BC-7254-42CA-ACE1-676169A583B7}" destId="{88BFFA4B-F458-45ED-B26D-098B81EFA566}" srcOrd="0" destOrd="0" parTransId="{F85E66D1-3A13-4D6A-BA88-363859CADC91}" sibTransId="{FDACC490-08DF-456F-9B26-F2F3E33828CD}"/>
    <dgm:cxn modelId="{E28E6338-30EA-4FF1-861D-F3397CB0889C}" type="presOf" srcId="{E718E1F6-9461-4DCD-97E2-0B839EB8091E}" destId="{A7D0D01A-747E-485B-9884-F3644F0A0911}" srcOrd="0" destOrd="0" presId="urn:microsoft.com/office/officeart/2008/layout/HorizontalMultiLevelHierarchy"/>
    <dgm:cxn modelId="{DCE8831C-849E-4BE8-AE4E-C1E9EE4E8474}" type="presOf" srcId="{713240BC-7254-42CA-ACE1-676169A583B7}" destId="{896F885B-50E5-48AF-9B5F-E1FD40F0D1C8}" srcOrd="0" destOrd="0" presId="urn:microsoft.com/office/officeart/2008/layout/HorizontalMultiLevelHierarchy"/>
    <dgm:cxn modelId="{619ECF92-EC19-4D86-9B14-155162240CA5}" srcId="{88BFFA4B-F458-45ED-B26D-098B81EFA566}" destId="{9B5D638C-E7C9-4A88-A0AE-C4BD51A95F1D}" srcOrd="1" destOrd="0" parTransId="{EE0BE385-8F69-4A70-9936-4EBD552FBE0B}" sibTransId="{370BD509-CE57-4FEF-B859-68916CDEDAE8}"/>
    <dgm:cxn modelId="{4C0F9F7C-C1B1-4ACB-8C26-33CBF7DC658C}" srcId="{88BFFA4B-F458-45ED-B26D-098B81EFA566}" destId="{E718E1F6-9461-4DCD-97E2-0B839EB8091E}" srcOrd="0" destOrd="0" parTransId="{179D531C-BB1D-4493-9DE1-03AA197AA21D}" sibTransId="{C2C5EABE-9A9B-4160-B6D0-1F154E8D419F}"/>
    <dgm:cxn modelId="{DC27EF9B-FD8F-4D4C-9DF4-4B5B0F99C87A}" type="presOf" srcId="{88BFFA4B-F458-45ED-B26D-098B81EFA566}" destId="{A89449E4-1146-4354-84F1-7099A3EB713B}" srcOrd="0" destOrd="0" presId="urn:microsoft.com/office/officeart/2008/layout/HorizontalMultiLevelHierarchy"/>
    <dgm:cxn modelId="{26FA428D-755C-4765-9B57-B95A23C94A80}" type="presParOf" srcId="{896F885B-50E5-48AF-9B5F-E1FD40F0D1C8}" destId="{E35F5A59-8D5D-4D18-9893-539528421A66}" srcOrd="0" destOrd="0" presId="urn:microsoft.com/office/officeart/2008/layout/HorizontalMultiLevelHierarchy"/>
    <dgm:cxn modelId="{F6741D48-2F69-4602-8CB3-B354F0AEA195}" type="presParOf" srcId="{E35F5A59-8D5D-4D18-9893-539528421A66}" destId="{A89449E4-1146-4354-84F1-7099A3EB713B}" srcOrd="0" destOrd="0" presId="urn:microsoft.com/office/officeart/2008/layout/HorizontalMultiLevelHierarchy"/>
    <dgm:cxn modelId="{327A4FF7-21A0-491E-9F0F-4D3907858BBD}" type="presParOf" srcId="{E35F5A59-8D5D-4D18-9893-539528421A66}" destId="{7F5B4A8B-A743-4E53-B572-A33DB9F9A0F6}" srcOrd="1" destOrd="0" presId="urn:microsoft.com/office/officeart/2008/layout/HorizontalMultiLevelHierarchy"/>
    <dgm:cxn modelId="{D40C73C8-1228-44E2-9CB0-1A6AC37D0F63}" type="presParOf" srcId="{7F5B4A8B-A743-4E53-B572-A33DB9F9A0F6}" destId="{901C58B6-D4C3-42C0-B1A9-A318EC5C1909}" srcOrd="0" destOrd="0" presId="urn:microsoft.com/office/officeart/2008/layout/HorizontalMultiLevelHierarchy"/>
    <dgm:cxn modelId="{922D5AEF-0BC6-4474-B443-E72ED54D73A3}" type="presParOf" srcId="{901C58B6-D4C3-42C0-B1A9-A318EC5C1909}" destId="{88D398E0-9763-4605-8E01-2439C1702CED}" srcOrd="0" destOrd="0" presId="urn:microsoft.com/office/officeart/2008/layout/HorizontalMultiLevelHierarchy"/>
    <dgm:cxn modelId="{D71372E9-5905-4C68-95C5-CFD3712D2772}" type="presParOf" srcId="{7F5B4A8B-A743-4E53-B572-A33DB9F9A0F6}" destId="{9DCFDCD9-6823-4158-8AE4-61F8DA7F19C7}" srcOrd="1" destOrd="0" presId="urn:microsoft.com/office/officeart/2008/layout/HorizontalMultiLevelHierarchy"/>
    <dgm:cxn modelId="{E9D1BF6A-EA09-4C70-9CB1-46C85FC9D4C5}" type="presParOf" srcId="{9DCFDCD9-6823-4158-8AE4-61F8DA7F19C7}" destId="{A7D0D01A-747E-485B-9884-F3644F0A0911}" srcOrd="0" destOrd="0" presId="urn:microsoft.com/office/officeart/2008/layout/HorizontalMultiLevelHierarchy"/>
    <dgm:cxn modelId="{4D75FF27-D177-4389-8414-73DAEF36BA45}" type="presParOf" srcId="{9DCFDCD9-6823-4158-8AE4-61F8DA7F19C7}" destId="{CC30285B-643D-4868-857A-B6A1A9E46837}" srcOrd="1" destOrd="0" presId="urn:microsoft.com/office/officeart/2008/layout/HorizontalMultiLevelHierarchy"/>
    <dgm:cxn modelId="{9FA92852-E417-442E-8C32-0E1BBD3288D3}" type="presParOf" srcId="{7F5B4A8B-A743-4E53-B572-A33DB9F9A0F6}" destId="{ABD4C1E9-588C-419D-B505-3A4861EE8978}" srcOrd="2" destOrd="0" presId="urn:microsoft.com/office/officeart/2008/layout/HorizontalMultiLevelHierarchy"/>
    <dgm:cxn modelId="{C15B8C87-F4FE-4C3E-8989-715527978FC1}" type="presParOf" srcId="{ABD4C1E9-588C-419D-B505-3A4861EE8978}" destId="{5D4ECA22-CB20-46CE-B726-0297CF47411C}" srcOrd="0" destOrd="0" presId="urn:microsoft.com/office/officeart/2008/layout/HorizontalMultiLevelHierarchy"/>
    <dgm:cxn modelId="{6DA7682D-2197-41D6-A978-B5A83CAE72C9}" type="presParOf" srcId="{7F5B4A8B-A743-4E53-B572-A33DB9F9A0F6}" destId="{13467303-1A23-4E1E-AEEB-B04133D83E45}" srcOrd="3" destOrd="0" presId="urn:microsoft.com/office/officeart/2008/layout/HorizontalMultiLevelHierarchy"/>
    <dgm:cxn modelId="{21471518-3D73-405A-B273-EA689E402C06}" type="presParOf" srcId="{13467303-1A23-4E1E-AEEB-B04133D83E45}" destId="{32B5D929-3BEE-405C-B00E-21D168D16EF0}" srcOrd="0" destOrd="0" presId="urn:microsoft.com/office/officeart/2008/layout/HorizontalMultiLevelHierarchy"/>
    <dgm:cxn modelId="{8ED0CC35-5EA3-40DC-859A-0A26D5380B0D}" type="presParOf" srcId="{13467303-1A23-4E1E-AEEB-B04133D83E45}" destId="{002D7CCD-0F7F-4DD5-ACC9-206E67360039}" srcOrd="1" destOrd="0" presId="urn:microsoft.com/office/officeart/2008/layout/HorizontalMultiLevelHierarchy"/>
    <dgm:cxn modelId="{B8103213-7542-45F6-8180-AC1E8A4C3D41}" type="presParOf" srcId="{7F5B4A8B-A743-4E53-B572-A33DB9F9A0F6}" destId="{7FA99352-2ABC-4B1E-BEF8-05CFD030734C}" srcOrd="4" destOrd="0" presId="urn:microsoft.com/office/officeart/2008/layout/HorizontalMultiLevelHierarchy"/>
    <dgm:cxn modelId="{646F3737-EE6F-40B5-A920-CFCF2B42B9D1}" type="presParOf" srcId="{7FA99352-2ABC-4B1E-BEF8-05CFD030734C}" destId="{3F455F23-C966-4298-A836-D98D1773E65C}" srcOrd="0" destOrd="0" presId="urn:microsoft.com/office/officeart/2008/layout/HorizontalMultiLevelHierarchy"/>
    <dgm:cxn modelId="{CE221F02-E75C-4353-BD4C-6472F3A3AA1E}" type="presParOf" srcId="{7F5B4A8B-A743-4E53-B572-A33DB9F9A0F6}" destId="{3E9372B9-5CD5-4A21-B344-366378F5053D}" srcOrd="5" destOrd="0" presId="urn:microsoft.com/office/officeart/2008/layout/HorizontalMultiLevelHierarchy"/>
    <dgm:cxn modelId="{650E1374-CD24-43D9-9C4D-8972EED725D2}" type="presParOf" srcId="{3E9372B9-5CD5-4A21-B344-366378F5053D}" destId="{B00F73B5-CD69-475A-8A49-6923784175E6}" srcOrd="0" destOrd="0" presId="urn:microsoft.com/office/officeart/2008/layout/HorizontalMultiLevelHierarchy"/>
    <dgm:cxn modelId="{C1E40567-E1F3-4508-BF35-10F0EBDDD2C2}" type="presParOf" srcId="{3E9372B9-5CD5-4A21-B344-366378F5053D}" destId="{78939D6B-5886-4C69-B707-D25F3981531D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783A7C-174C-4261-AE35-B8F22E3EA6E7}">
      <dsp:nvSpPr>
        <dsp:cNvPr id="0" name=""/>
        <dsp:cNvSpPr/>
      </dsp:nvSpPr>
      <dsp:spPr>
        <a:xfrm>
          <a:off x="744" y="0"/>
          <a:ext cx="1934765" cy="4064000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System Quality</a:t>
          </a:r>
          <a:endParaRPr lang="en-US" sz="2700" kern="1200" dirty="0"/>
        </a:p>
      </dsp:txBody>
      <dsp:txXfrm>
        <a:off x="744" y="0"/>
        <a:ext cx="1934765" cy="1219200"/>
      </dsp:txXfrm>
    </dsp:sp>
    <dsp:sp modelId="{142ACBD7-E1A2-4A0F-AB9F-C5D4F72ED833}">
      <dsp:nvSpPr>
        <dsp:cNvPr id="0" name=""/>
        <dsp:cNvSpPr/>
      </dsp:nvSpPr>
      <dsp:spPr>
        <a:xfrm>
          <a:off x="194220" y="1219398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>
              <a:solidFill>
                <a:schemeClr val="tx1"/>
              </a:solidFill>
            </a:rPr>
            <a:t>Availability</a:t>
          </a:r>
          <a:endParaRPr lang="en-US" sz="1500" b="1" kern="1200" dirty="0">
            <a:solidFill>
              <a:schemeClr val="tx1"/>
            </a:solidFill>
          </a:endParaRPr>
        </a:p>
      </dsp:txBody>
      <dsp:txXfrm>
        <a:off x="205648" y="1230826"/>
        <a:ext cx="1524956" cy="367321"/>
      </dsp:txXfrm>
    </dsp:sp>
    <dsp:sp modelId="{B215B456-D685-4ACC-808E-CC2B8DB5E036}">
      <dsp:nvSpPr>
        <dsp:cNvPr id="0" name=""/>
        <dsp:cNvSpPr/>
      </dsp:nvSpPr>
      <dsp:spPr>
        <a:xfrm>
          <a:off x="194220" y="1669603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750018"/>
            <a:satOff val="-1125"/>
            <a:lumOff val="-18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>
              <a:solidFill>
                <a:schemeClr val="tx1"/>
              </a:solidFill>
            </a:rPr>
            <a:t>Modifiability</a:t>
          </a:r>
          <a:endParaRPr lang="en-US" sz="1500" b="1" kern="1200" dirty="0">
            <a:solidFill>
              <a:schemeClr val="tx1"/>
            </a:solidFill>
          </a:endParaRPr>
        </a:p>
      </dsp:txBody>
      <dsp:txXfrm>
        <a:off x="205648" y="1681031"/>
        <a:ext cx="1524956" cy="367321"/>
      </dsp:txXfrm>
    </dsp:sp>
    <dsp:sp modelId="{678406F9-0B84-4F67-A51F-439C0E97E476}">
      <dsp:nvSpPr>
        <dsp:cNvPr id="0" name=""/>
        <dsp:cNvSpPr/>
      </dsp:nvSpPr>
      <dsp:spPr>
        <a:xfrm>
          <a:off x="194220" y="2119808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1500035"/>
            <a:satOff val="-2251"/>
            <a:lumOff val="-36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>
              <a:solidFill>
                <a:schemeClr val="tx1"/>
              </a:solidFill>
            </a:rPr>
            <a:t>Performance</a:t>
          </a:r>
          <a:endParaRPr lang="en-US" sz="1500" b="1" kern="1200" dirty="0">
            <a:solidFill>
              <a:schemeClr val="tx1"/>
            </a:solidFill>
          </a:endParaRPr>
        </a:p>
      </dsp:txBody>
      <dsp:txXfrm>
        <a:off x="205648" y="2131236"/>
        <a:ext cx="1524956" cy="367321"/>
      </dsp:txXfrm>
    </dsp:sp>
    <dsp:sp modelId="{381FC751-3918-433C-AF88-8FD7E3F99930}">
      <dsp:nvSpPr>
        <dsp:cNvPr id="0" name=""/>
        <dsp:cNvSpPr/>
      </dsp:nvSpPr>
      <dsp:spPr>
        <a:xfrm>
          <a:off x="194220" y="2570013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2250053"/>
            <a:satOff val="-3376"/>
            <a:lumOff val="-54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>
              <a:solidFill>
                <a:schemeClr val="tx1"/>
              </a:solidFill>
            </a:rPr>
            <a:t>Security</a:t>
          </a:r>
          <a:endParaRPr lang="en-US" sz="1500" b="1" kern="1200" dirty="0">
            <a:solidFill>
              <a:schemeClr val="tx1"/>
            </a:solidFill>
          </a:endParaRPr>
        </a:p>
      </dsp:txBody>
      <dsp:txXfrm>
        <a:off x="205648" y="2581441"/>
        <a:ext cx="1524956" cy="367321"/>
      </dsp:txXfrm>
    </dsp:sp>
    <dsp:sp modelId="{7226CAA6-7B46-4760-BA96-6800727D20BB}">
      <dsp:nvSpPr>
        <dsp:cNvPr id="0" name=""/>
        <dsp:cNvSpPr/>
      </dsp:nvSpPr>
      <dsp:spPr>
        <a:xfrm>
          <a:off x="194220" y="3020218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3000070"/>
            <a:satOff val="-4501"/>
            <a:lumOff val="-73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>
              <a:solidFill>
                <a:schemeClr val="tx1"/>
              </a:solidFill>
            </a:rPr>
            <a:t>Testability</a:t>
          </a:r>
          <a:endParaRPr lang="en-US" sz="1500" b="1" kern="1200" dirty="0">
            <a:solidFill>
              <a:schemeClr val="tx1"/>
            </a:solidFill>
          </a:endParaRPr>
        </a:p>
      </dsp:txBody>
      <dsp:txXfrm>
        <a:off x="205648" y="3031646"/>
        <a:ext cx="1524956" cy="367321"/>
      </dsp:txXfrm>
    </dsp:sp>
    <dsp:sp modelId="{96AE634F-D0EF-4A87-B26C-D55AE4DABB7D}">
      <dsp:nvSpPr>
        <dsp:cNvPr id="0" name=""/>
        <dsp:cNvSpPr/>
      </dsp:nvSpPr>
      <dsp:spPr>
        <a:xfrm>
          <a:off x="194220" y="3470423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3750088"/>
            <a:satOff val="-5627"/>
            <a:lumOff val="-9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>
              <a:solidFill>
                <a:schemeClr val="tx1"/>
              </a:solidFill>
            </a:rPr>
            <a:t>Usability</a:t>
          </a:r>
          <a:endParaRPr lang="en-US" sz="1500" b="1" kern="1200" dirty="0">
            <a:solidFill>
              <a:schemeClr val="tx1"/>
            </a:solidFill>
          </a:endParaRPr>
        </a:p>
      </dsp:txBody>
      <dsp:txXfrm>
        <a:off x="205648" y="3481851"/>
        <a:ext cx="1524956" cy="367321"/>
      </dsp:txXfrm>
    </dsp:sp>
    <dsp:sp modelId="{C2EA1DFA-A78A-4C5E-888D-B45ECBB7CFAC}">
      <dsp:nvSpPr>
        <dsp:cNvPr id="0" name=""/>
        <dsp:cNvSpPr/>
      </dsp:nvSpPr>
      <dsp:spPr>
        <a:xfrm>
          <a:off x="2080617" y="0"/>
          <a:ext cx="1934765" cy="4064000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Business Quality</a:t>
          </a:r>
          <a:endParaRPr lang="en-US" sz="2700" kern="1200" dirty="0"/>
        </a:p>
      </dsp:txBody>
      <dsp:txXfrm>
        <a:off x="2080617" y="0"/>
        <a:ext cx="1934765" cy="1219200"/>
      </dsp:txXfrm>
    </dsp:sp>
    <dsp:sp modelId="{09F78D94-8018-4C8F-A097-38351F4D6FE0}">
      <dsp:nvSpPr>
        <dsp:cNvPr id="0" name=""/>
        <dsp:cNvSpPr/>
      </dsp:nvSpPr>
      <dsp:spPr>
        <a:xfrm>
          <a:off x="2274093" y="1219398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4500106"/>
            <a:satOff val="-6752"/>
            <a:lumOff val="-109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0" kern="1200" dirty="0" smtClean="0"/>
            <a:t>Time to market</a:t>
          </a:r>
          <a:endParaRPr lang="en-US" sz="1500" b="0" kern="1200" dirty="0"/>
        </a:p>
      </dsp:txBody>
      <dsp:txXfrm>
        <a:off x="2285521" y="1230826"/>
        <a:ext cx="1524956" cy="367321"/>
      </dsp:txXfrm>
    </dsp:sp>
    <dsp:sp modelId="{01D89F89-A9EA-437C-8CA9-FDCBE0105536}">
      <dsp:nvSpPr>
        <dsp:cNvPr id="0" name=""/>
        <dsp:cNvSpPr/>
      </dsp:nvSpPr>
      <dsp:spPr>
        <a:xfrm>
          <a:off x="2274093" y="1669603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5250123"/>
            <a:satOff val="-7877"/>
            <a:lumOff val="-128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Cost and benefit</a:t>
          </a:r>
          <a:endParaRPr lang="en-US" sz="1500" kern="1200" dirty="0"/>
        </a:p>
      </dsp:txBody>
      <dsp:txXfrm>
        <a:off x="2285521" y="1681031"/>
        <a:ext cx="1524956" cy="367321"/>
      </dsp:txXfrm>
    </dsp:sp>
    <dsp:sp modelId="{3421998F-D017-48B1-A46C-C918645CF4F6}">
      <dsp:nvSpPr>
        <dsp:cNvPr id="0" name=""/>
        <dsp:cNvSpPr/>
      </dsp:nvSpPr>
      <dsp:spPr>
        <a:xfrm>
          <a:off x="2274093" y="2119808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6000141"/>
            <a:satOff val="-9003"/>
            <a:lumOff val="-146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Project lifetime</a:t>
          </a:r>
          <a:endParaRPr lang="en-US" sz="1500" kern="1200" dirty="0"/>
        </a:p>
      </dsp:txBody>
      <dsp:txXfrm>
        <a:off x="2285521" y="2131236"/>
        <a:ext cx="1524956" cy="367321"/>
      </dsp:txXfrm>
    </dsp:sp>
    <dsp:sp modelId="{4EACF501-C421-43C7-9F55-E744C605193E}">
      <dsp:nvSpPr>
        <dsp:cNvPr id="0" name=""/>
        <dsp:cNvSpPr/>
      </dsp:nvSpPr>
      <dsp:spPr>
        <a:xfrm>
          <a:off x="2274093" y="2570013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6750158"/>
            <a:satOff val="-10128"/>
            <a:lumOff val="-164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Targeted market</a:t>
          </a:r>
          <a:endParaRPr lang="en-US" sz="1500" kern="1200" dirty="0"/>
        </a:p>
      </dsp:txBody>
      <dsp:txXfrm>
        <a:off x="2285521" y="2581441"/>
        <a:ext cx="1524956" cy="367321"/>
      </dsp:txXfrm>
    </dsp:sp>
    <dsp:sp modelId="{E4D1FC4D-9158-4DC5-8CD1-A7624CA88DA3}">
      <dsp:nvSpPr>
        <dsp:cNvPr id="0" name=""/>
        <dsp:cNvSpPr/>
      </dsp:nvSpPr>
      <dsp:spPr>
        <a:xfrm>
          <a:off x="2274093" y="3020218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7500176"/>
            <a:satOff val="-11253"/>
            <a:lumOff val="-18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Rollout schedule</a:t>
          </a:r>
          <a:endParaRPr lang="en-US" sz="1500" kern="1200" dirty="0"/>
        </a:p>
      </dsp:txBody>
      <dsp:txXfrm>
        <a:off x="2285521" y="3031646"/>
        <a:ext cx="1524956" cy="367321"/>
      </dsp:txXfrm>
    </dsp:sp>
    <dsp:sp modelId="{FAAC9442-A6D1-4316-982F-23426466EC5A}">
      <dsp:nvSpPr>
        <dsp:cNvPr id="0" name=""/>
        <dsp:cNvSpPr/>
      </dsp:nvSpPr>
      <dsp:spPr>
        <a:xfrm>
          <a:off x="2274093" y="3470423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8250193"/>
            <a:satOff val="-12379"/>
            <a:lumOff val="-201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Legacy integration</a:t>
          </a:r>
          <a:endParaRPr lang="en-US" sz="1500" kern="1200" dirty="0"/>
        </a:p>
      </dsp:txBody>
      <dsp:txXfrm>
        <a:off x="2285521" y="3481851"/>
        <a:ext cx="1524956" cy="367321"/>
      </dsp:txXfrm>
    </dsp:sp>
    <dsp:sp modelId="{2B77E2F5-1346-4034-87BA-2480C596A284}">
      <dsp:nvSpPr>
        <dsp:cNvPr id="0" name=""/>
        <dsp:cNvSpPr/>
      </dsp:nvSpPr>
      <dsp:spPr>
        <a:xfrm>
          <a:off x="4160490" y="0"/>
          <a:ext cx="1934765" cy="4064000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Quality of Architecture</a:t>
          </a:r>
          <a:endParaRPr lang="en-US" sz="2700" kern="1200" dirty="0"/>
        </a:p>
      </dsp:txBody>
      <dsp:txXfrm>
        <a:off x="4160490" y="0"/>
        <a:ext cx="1934765" cy="1219200"/>
      </dsp:txXfrm>
    </dsp:sp>
    <dsp:sp modelId="{7744BB61-1AC4-44F0-AFFE-ED763612E2C0}">
      <dsp:nvSpPr>
        <dsp:cNvPr id="0" name=""/>
        <dsp:cNvSpPr/>
      </dsp:nvSpPr>
      <dsp:spPr>
        <a:xfrm>
          <a:off x="4353966" y="1219299"/>
          <a:ext cx="1547812" cy="592038"/>
        </a:xfrm>
        <a:prstGeom prst="roundRect">
          <a:avLst>
            <a:gd name="adj" fmla="val 10000"/>
          </a:avLst>
        </a:prstGeom>
        <a:solidFill>
          <a:schemeClr val="accent3">
            <a:hueOff val="9000211"/>
            <a:satOff val="-13504"/>
            <a:lumOff val="-219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0" kern="1200" dirty="0" smtClean="0"/>
            <a:t>Conceptual Integrity</a:t>
          </a:r>
          <a:endParaRPr lang="en-US" sz="1500" b="0" kern="1200" dirty="0"/>
        </a:p>
      </dsp:txBody>
      <dsp:txXfrm>
        <a:off x="4371306" y="1236639"/>
        <a:ext cx="1513132" cy="557358"/>
      </dsp:txXfrm>
    </dsp:sp>
    <dsp:sp modelId="{B86527D0-D365-4205-B1BB-E76B69F611FA}">
      <dsp:nvSpPr>
        <dsp:cNvPr id="0" name=""/>
        <dsp:cNvSpPr/>
      </dsp:nvSpPr>
      <dsp:spPr>
        <a:xfrm>
          <a:off x="4353966" y="1902420"/>
          <a:ext cx="1547812" cy="592038"/>
        </a:xfrm>
        <a:prstGeom prst="roundRect">
          <a:avLst>
            <a:gd name="adj" fmla="val 10000"/>
          </a:avLst>
        </a:prstGeom>
        <a:solidFill>
          <a:schemeClr val="accent3">
            <a:hueOff val="9750229"/>
            <a:satOff val="-14629"/>
            <a:lumOff val="-237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Correctness</a:t>
          </a:r>
          <a:endParaRPr lang="en-US" sz="1500" kern="1200" dirty="0"/>
        </a:p>
      </dsp:txBody>
      <dsp:txXfrm>
        <a:off x="4371306" y="1919760"/>
        <a:ext cx="1513132" cy="557358"/>
      </dsp:txXfrm>
    </dsp:sp>
    <dsp:sp modelId="{261C7135-9109-4506-8608-DB28763C6FFF}">
      <dsp:nvSpPr>
        <dsp:cNvPr id="0" name=""/>
        <dsp:cNvSpPr/>
      </dsp:nvSpPr>
      <dsp:spPr>
        <a:xfrm>
          <a:off x="4353966" y="2585541"/>
          <a:ext cx="1547812" cy="592038"/>
        </a:xfrm>
        <a:prstGeom prst="roundRect">
          <a:avLst>
            <a:gd name="adj" fmla="val 10000"/>
          </a:avLst>
        </a:prstGeom>
        <a:solidFill>
          <a:schemeClr val="accent3">
            <a:hueOff val="10500246"/>
            <a:satOff val="-15755"/>
            <a:lumOff val="-256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completeness</a:t>
          </a:r>
          <a:endParaRPr lang="en-US" sz="1500" kern="1200" dirty="0"/>
        </a:p>
      </dsp:txBody>
      <dsp:txXfrm>
        <a:off x="4371306" y="2602881"/>
        <a:ext cx="1513132" cy="557358"/>
      </dsp:txXfrm>
    </dsp:sp>
    <dsp:sp modelId="{6A3AA0FC-1FF9-4606-BBC6-4E448ABEE738}">
      <dsp:nvSpPr>
        <dsp:cNvPr id="0" name=""/>
        <dsp:cNvSpPr/>
      </dsp:nvSpPr>
      <dsp:spPr>
        <a:xfrm>
          <a:off x="4353966" y="3268662"/>
          <a:ext cx="1547812" cy="592038"/>
        </a:xfrm>
        <a:prstGeom prst="roundRect">
          <a:avLst>
            <a:gd name="adj" fmla="val 10000"/>
          </a:avLst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err="1" smtClean="0"/>
            <a:t>Buildability</a:t>
          </a:r>
          <a:endParaRPr lang="en-US" sz="1500" kern="1200" dirty="0"/>
        </a:p>
      </dsp:txBody>
      <dsp:txXfrm>
        <a:off x="4371306" y="3286002"/>
        <a:ext cx="1513132" cy="55735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70828E-DDD4-480C-BDFF-1E596F6615D1}">
      <dsp:nvSpPr>
        <dsp:cNvPr id="0" name=""/>
        <dsp:cNvSpPr/>
      </dsp:nvSpPr>
      <dsp:spPr>
        <a:xfrm>
          <a:off x="5785628" y="1362455"/>
          <a:ext cx="193575" cy="26774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77431"/>
              </a:lnTo>
              <a:lnTo>
                <a:pt x="193575" y="267743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1682D2-6375-4500-994F-C7CC83594561}">
      <dsp:nvSpPr>
        <dsp:cNvPr id="0" name=""/>
        <dsp:cNvSpPr/>
      </dsp:nvSpPr>
      <dsp:spPr>
        <a:xfrm>
          <a:off x="5785628" y="1362455"/>
          <a:ext cx="193575" cy="17611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61174"/>
              </a:lnTo>
              <a:lnTo>
                <a:pt x="193575" y="1761174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BC6CEE4-3F67-4FA6-8639-65EC4CCFF4D9}">
      <dsp:nvSpPr>
        <dsp:cNvPr id="0" name=""/>
        <dsp:cNvSpPr/>
      </dsp:nvSpPr>
      <dsp:spPr>
        <a:xfrm>
          <a:off x="5785628" y="1362455"/>
          <a:ext cx="193575" cy="7192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9274"/>
              </a:lnTo>
              <a:lnTo>
                <a:pt x="193575" y="719274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62ECC0-9994-4B01-9E77-D5C13C496118}">
      <dsp:nvSpPr>
        <dsp:cNvPr id="0" name=""/>
        <dsp:cNvSpPr/>
      </dsp:nvSpPr>
      <dsp:spPr>
        <a:xfrm>
          <a:off x="3516964" y="444481"/>
          <a:ext cx="2784865" cy="27272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7219"/>
              </a:lnTo>
              <a:lnTo>
                <a:pt x="2784865" y="137219"/>
              </a:lnTo>
              <a:lnTo>
                <a:pt x="2784865" y="27272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628582-088E-42FA-B6EC-953F652565B0}">
      <dsp:nvSpPr>
        <dsp:cNvPr id="0" name=""/>
        <dsp:cNvSpPr/>
      </dsp:nvSpPr>
      <dsp:spPr>
        <a:xfrm>
          <a:off x="3675319" y="1362455"/>
          <a:ext cx="225646" cy="24261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26144"/>
              </a:lnTo>
              <a:lnTo>
                <a:pt x="225646" y="2426144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E82B1A-B1F2-4CC5-9B64-B60015CBF624}">
      <dsp:nvSpPr>
        <dsp:cNvPr id="0" name=""/>
        <dsp:cNvSpPr/>
      </dsp:nvSpPr>
      <dsp:spPr>
        <a:xfrm>
          <a:off x="3675319" y="1362455"/>
          <a:ext cx="225646" cy="15098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09888"/>
              </a:lnTo>
              <a:lnTo>
                <a:pt x="225646" y="150988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DC7120-FE6F-49D8-95F2-AB1B2B6AC9A8}">
      <dsp:nvSpPr>
        <dsp:cNvPr id="0" name=""/>
        <dsp:cNvSpPr/>
      </dsp:nvSpPr>
      <dsp:spPr>
        <a:xfrm>
          <a:off x="3675319" y="1362455"/>
          <a:ext cx="225646" cy="5936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3631"/>
              </a:lnTo>
              <a:lnTo>
                <a:pt x="225646" y="59363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37CAE9-66E1-459B-A733-9B53B02E07AF}">
      <dsp:nvSpPr>
        <dsp:cNvPr id="0" name=""/>
        <dsp:cNvSpPr/>
      </dsp:nvSpPr>
      <dsp:spPr>
        <a:xfrm>
          <a:off x="3516964" y="444481"/>
          <a:ext cx="760080" cy="27272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7219"/>
              </a:lnTo>
              <a:lnTo>
                <a:pt x="760080" y="137219"/>
              </a:lnTo>
              <a:lnTo>
                <a:pt x="760080" y="27272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94D9E8-C2A3-4765-9477-D710CC646957}">
      <dsp:nvSpPr>
        <dsp:cNvPr id="0" name=""/>
        <dsp:cNvSpPr/>
      </dsp:nvSpPr>
      <dsp:spPr>
        <a:xfrm>
          <a:off x="2092429" y="1362455"/>
          <a:ext cx="193575" cy="334240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42401"/>
              </a:lnTo>
              <a:lnTo>
                <a:pt x="193575" y="334240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4D3FE4-1739-4B3C-ACD2-597D18FBC50F}">
      <dsp:nvSpPr>
        <dsp:cNvPr id="0" name=""/>
        <dsp:cNvSpPr/>
      </dsp:nvSpPr>
      <dsp:spPr>
        <a:xfrm>
          <a:off x="2092429" y="1362455"/>
          <a:ext cx="193575" cy="24261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26144"/>
              </a:lnTo>
              <a:lnTo>
                <a:pt x="193575" y="2426144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E10A4AF-D8A8-4F2D-9661-56E5DBB5B2C5}">
      <dsp:nvSpPr>
        <dsp:cNvPr id="0" name=""/>
        <dsp:cNvSpPr/>
      </dsp:nvSpPr>
      <dsp:spPr>
        <a:xfrm>
          <a:off x="2092429" y="1362455"/>
          <a:ext cx="193575" cy="15098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09888"/>
              </a:lnTo>
              <a:lnTo>
                <a:pt x="193575" y="150988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07306D-4BD7-4477-BB61-A954489058D6}">
      <dsp:nvSpPr>
        <dsp:cNvPr id="0" name=""/>
        <dsp:cNvSpPr/>
      </dsp:nvSpPr>
      <dsp:spPr>
        <a:xfrm>
          <a:off x="2092429" y="1362455"/>
          <a:ext cx="193575" cy="5936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3631"/>
              </a:lnTo>
              <a:lnTo>
                <a:pt x="193575" y="59363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956835-3386-449C-A89B-65F7C680246D}">
      <dsp:nvSpPr>
        <dsp:cNvPr id="0" name=""/>
        <dsp:cNvSpPr/>
      </dsp:nvSpPr>
      <dsp:spPr>
        <a:xfrm>
          <a:off x="2608630" y="444481"/>
          <a:ext cx="908333" cy="272722"/>
        </a:xfrm>
        <a:custGeom>
          <a:avLst/>
          <a:gdLst/>
          <a:ahLst/>
          <a:cxnLst/>
          <a:rect l="0" t="0" r="0" b="0"/>
          <a:pathLst>
            <a:path>
              <a:moveTo>
                <a:pt x="908333" y="0"/>
              </a:moveTo>
              <a:lnTo>
                <a:pt x="908333" y="137219"/>
              </a:lnTo>
              <a:lnTo>
                <a:pt x="0" y="137219"/>
              </a:lnTo>
              <a:lnTo>
                <a:pt x="0" y="27272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C84909-550F-4BDC-8966-B86E5E1786AE}">
      <dsp:nvSpPr>
        <dsp:cNvPr id="0" name=""/>
        <dsp:cNvSpPr/>
      </dsp:nvSpPr>
      <dsp:spPr>
        <a:xfrm>
          <a:off x="281454" y="1383419"/>
          <a:ext cx="193575" cy="24261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26144"/>
              </a:lnTo>
              <a:lnTo>
                <a:pt x="193575" y="2426144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B3E9C0-0CE1-4B88-9E71-F7CE1A7F99D7}">
      <dsp:nvSpPr>
        <dsp:cNvPr id="0" name=""/>
        <dsp:cNvSpPr/>
      </dsp:nvSpPr>
      <dsp:spPr>
        <a:xfrm>
          <a:off x="281454" y="1383419"/>
          <a:ext cx="193575" cy="15098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09888"/>
              </a:lnTo>
              <a:lnTo>
                <a:pt x="193575" y="150988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3ED5F7-10A0-45C9-B814-5804FA76917E}">
      <dsp:nvSpPr>
        <dsp:cNvPr id="0" name=""/>
        <dsp:cNvSpPr/>
      </dsp:nvSpPr>
      <dsp:spPr>
        <a:xfrm>
          <a:off x="281454" y="1383419"/>
          <a:ext cx="193575" cy="5936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3631"/>
              </a:lnTo>
              <a:lnTo>
                <a:pt x="193575" y="59363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3BC68A0-CABF-4126-884C-C90818E1E26E}">
      <dsp:nvSpPr>
        <dsp:cNvPr id="0" name=""/>
        <dsp:cNvSpPr/>
      </dsp:nvSpPr>
      <dsp:spPr>
        <a:xfrm>
          <a:off x="797655" y="444481"/>
          <a:ext cx="2719308" cy="352495"/>
        </a:xfrm>
        <a:custGeom>
          <a:avLst/>
          <a:gdLst/>
          <a:ahLst/>
          <a:cxnLst/>
          <a:rect l="0" t="0" r="0" b="0"/>
          <a:pathLst>
            <a:path>
              <a:moveTo>
                <a:pt x="2719308" y="0"/>
              </a:moveTo>
              <a:lnTo>
                <a:pt x="2719308" y="216992"/>
              </a:lnTo>
              <a:lnTo>
                <a:pt x="0" y="216992"/>
              </a:lnTo>
              <a:lnTo>
                <a:pt x="0" y="352495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D90FEA-3135-49C2-A3C0-CFEDDC6405B3}">
      <dsp:nvSpPr>
        <dsp:cNvPr id="0" name=""/>
        <dsp:cNvSpPr/>
      </dsp:nvSpPr>
      <dsp:spPr>
        <a:xfrm>
          <a:off x="2113529" y="0"/>
          <a:ext cx="2806869" cy="4444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Availability</a:t>
          </a:r>
          <a:endParaRPr lang="en-US" sz="2000" kern="1200" dirty="0"/>
        </a:p>
      </dsp:txBody>
      <dsp:txXfrm>
        <a:off x="2113529" y="0"/>
        <a:ext cx="2806869" cy="444481"/>
      </dsp:txXfrm>
    </dsp:sp>
    <dsp:sp modelId="{5E5C4910-D5C2-4117-9825-0F4E2308A1D4}">
      <dsp:nvSpPr>
        <dsp:cNvPr id="0" name=""/>
        <dsp:cNvSpPr/>
      </dsp:nvSpPr>
      <dsp:spPr>
        <a:xfrm>
          <a:off x="152404" y="796976"/>
          <a:ext cx="1290502" cy="586443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Fault detection</a:t>
          </a:r>
          <a:endParaRPr lang="en-US" sz="1800" kern="1200" dirty="0"/>
        </a:p>
      </dsp:txBody>
      <dsp:txXfrm>
        <a:off x="152404" y="796976"/>
        <a:ext cx="1290502" cy="586443"/>
      </dsp:txXfrm>
    </dsp:sp>
    <dsp:sp modelId="{1064D61A-5C37-497D-A6F5-6312AB6E3F5A}">
      <dsp:nvSpPr>
        <dsp:cNvPr id="0" name=""/>
        <dsp:cNvSpPr/>
      </dsp:nvSpPr>
      <dsp:spPr>
        <a:xfrm>
          <a:off x="475029" y="1654425"/>
          <a:ext cx="1290502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ing/echo</a:t>
          </a:r>
          <a:endParaRPr lang="en-US" sz="1800" kern="1200" dirty="0"/>
        </a:p>
      </dsp:txBody>
      <dsp:txXfrm>
        <a:off x="475029" y="1654425"/>
        <a:ext cx="1290502" cy="645251"/>
      </dsp:txXfrm>
    </dsp:sp>
    <dsp:sp modelId="{A77E27D0-EFD7-495B-9E1A-5A5371B8AB84}">
      <dsp:nvSpPr>
        <dsp:cNvPr id="0" name=""/>
        <dsp:cNvSpPr/>
      </dsp:nvSpPr>
      <dsp:spPr>
        <a:xfrm>
          <a:off x="475029" y="2570682"/>
          <a:ext cx="1290502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Heartbeat</a:t>
          </a:r>
          <a:endParaRPr lang="en-US" sz="1800" kern="1200" dirty="0"/>
        </a:p>
      </dsp:txBody>
      <dsp:txXfrm>
        <a:off x="475029" y="2570682"/>
        <a:ext cx="1290502" cy="645251"/>
      </dsp:txXfrm>
    </dsp:sp>
    <dsp:sp modelId="{984A4F3B-0A00-4E5A-9092-1922B8A7FAB3}">
      <dsp:nvSpPr>
        <dsp:cNvPr id="0" name=""/>
        <dsp:cNvSpPr/>
      </dsp:nvSpPr>
      <dsp:spPr>
        <a:xfrm>
          <a:off x="475029" y="3486938"/>
          <a:ext cx="1290502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Exception</a:t>
          </a:r>
          <a:endParaRPr lang="en-US" sz="1800" kern="1200" dirty="0"/>
        </a:p>
      </dsp:txBody>
      <dsp:txXfrm>
        <a:off x="475029" y="3486938"/>
        <a:ext cx="1290502" cy="645251"/>
      </dsp:txXfrm>
    </dsp:sp>
    <dsp:sp modelId="{F0ED6141-24DB-4164-A2D4-B51E750525CD}">
      <dsp:nvSpPr>
        <dsp:cNvPr id="0" name=""/>
        <dsp:cNvSpPr/>
      </dsp:nvSpPr>
      <dsp:spPr>
        <a:xfrm>
          <a:off x="1963379" y="717204"/>
          <a:ext cx="1290502" cy="645251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Recovery by repair</a:t>
          </a:r>
          <a:endParaRPr lang="en-US" sz="1800" kern="1200" dirty="0"/>
        </a:p>
      </dsp:txBody>
      <dsp:txXfrm>
        <a:off x="1963379" y="717204"/>
        <a:ext cx="1290502" cy="645251"/>
      </dsp:txXfrm>
    </dsp:sp>
    <dsp:sp modelId="{CBCDE87F-FA6C-44B8-A9C2-1E747BE7F736}">
      <dsp:nvSpPr>
        <dsp:cNvPr id="0" name=""/>
        <dsp:cNvSpPr/>
      </dsp:nvSpPr>
      <dsp:spPr>
        <a:xfrm>
          <a:off x="2286005" y="1633460"/>
          <a:ext cx="1290502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Voting</a:t>
          </a:r>
          <a:endParaRPr lang="en-US" sz="1800" kern="1200" dirty="0"/>
        </a:p>
      </dsp:txBody>
      <dsp:txXfrm>
        <a:off x="2286005" y="1633460"/>
        <a:ext cx="1290502" cy="645251"/>
      </dsp:txXfrm>
    </dsp:sp>
    <dsp:sp modelId="{5D0F02D1-4A23-4B53-AF4F-3529BE69829E}">
      <dsp:nvSpPr>
        <dsp:cNvPr id="0" name=""/>
        <dsp:cNvSpPr/>
      </dsp:nvSpPr>
      <dsp:spPr>
        <a:xfrm>
          <a:off x="2286005" y="2549717"/>
          <a:ext cx="1290502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Active redundancy</a:t>
          </a:r>
          <a:endParaRPr lang="en-US" sz="1800" kern="1200" dirty="0"/>
        </a:p>
      </dsp:txBody>
      <dsp:txXfrm>
        <a:off x="2286005" y="2549717"/>
        <a:ext cx="1290502" cy="645251"/>
      </dsp:txXfrm>
    </dsp:sp>
    <dsp:sp modelId="{7BABB840-5689-4566-85C9-55C4A127C4C6}">
      <dsp:nvSpPr>
        <dsp:cNvPr id="0" name=""/>
        <dsp:cNvSpPr/>
      </dsp:nvSpPr>
      <dsp:spPr>
        <a:xfrm>
          <a:off x="2286005" y="3465974"/>
          <a:ext cx="1290502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assive redundancy</a:t>
          </a:r>
          <a:endParaRPr lang="en-US" sz="1800" kern="1200" dirty="0"/>
        </a:p>
      </dsp:txBody>
      <dsp:txXfrm>
        <a:off x="2286005" y="3465974"/>
        <a:ext cx="1290502" cy="645251"/>
      </dsp:txXfrm>
    </dsp:sp>
    <dsp:sp modelId="{50D60845-A14B-4DD0-8DB4-8B07FEB31A21}">
      <dsp:nvSpPr>
        <dsp:cNvPr id="0" name=""/>
        <dsp:cNvSpPr/>
      </dsp:nvSpPr>
      <dsp:spPr>
        <a:xfrm>
          <a:off x="2286005" y="4382231"/>
          <a:ext cx="1290502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Spare copy</a:t>
          </a:r>
          <a:endParaRPr lang="en-US" sz="1800" kern="1200" dirty="0"/>
        </a:p>
      </dsp:txBody>
      <dsp:txXfrm>
        <a:off x="2286005" y="4382231"/>
        <a:ext cx="1290502" cy="645251"/>
      </dsp:txXfrm>
    </dsp:sp>
    <dsp:sp modelId="{A5F2589C-C16C-45F2-9A3D-F2A6CB2476D1}">
      <dsp:nvSpPr>
        <dsp:cNvPr id="0" name=""/>
        <dsp:cNvSpPr/>
      </dsp:nvSpPr>
      <dsp:spPr>
        <a:xfrm>
          <a:off x="3524887" y="717204"/>
          <a:ext cx="1504313" cy="645251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Recovery by reintroduction</a:t>
          </a:r>
          <a:endParaRPr lang="en-US" sz="1800" kern="1200" dirty="0"/>
        </a:p>
      </dsp:txBody>
      <dsp:txXfrm>
        <a:off x="3524887" y="717204"/>
        <a:ext cx="1504313" cy="645251"/>
      </dsp:txXfrm>
    </dsp:sp>
    <dsp:sp modelId="{6E033C69-6BA8-4812-AE4E-0022A986E944}">
      <dsp:nvSpPr>
        <dsp:cNvPr id="0" name=""/>
        <dsp:cNvSpPr/>
      </dsp:nvSpPr>
      <dsp:spPr>
        <a:xfrm>
          <a:off x="3900965" y="1633460"/>
          <a:ext cx="1290502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hadow operation</a:t>
          </a:r>
          <a:endParaRPr lang="en-US" sz="1600" kern="1200" dirty="0"/>
        </a:p>
      </dsp:txBody>
      <dsp:txXfrm>
        <a:off x="3900965" y="1633460"/>
        <a:ext cx="1290502" cy="645251"/>
      </dsp:txXfrm>
    </dsp:sp>
    <dsp:sp modelId="{428A54D9-43F6-47B6-B3A2-FDCE09CB5A97}">
      <dsp:nvSpPr>
        <dsp:cNvPr id="0" name=""/>
        <dsp:cNvSpPr/>
      </dsp:nvSpPr>
      <dsp:spPr>
        <a:xfrm>
          <a:off x="3900965" y="2549717"/>
          <a:ext cx="1290502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tate resynchronization</a:t>
          </a:r>
          <a:endParaRPr lang="en-US" sz="1600" kern="1200" dirty="0"/>
        </a:p>
      </dsp:txBody>
      <dsp:txXfrm>
        <a:off x="3900965" y="2549717"/>
        <a:ext cx="1290502" cy="645251"/>
      </dsp:txXfrm>
    </dsp:sp>
    <dsp:sp modelId="{93507A0E-B606-4F7A-9C01-283769128FF2}">
      <dsp:nvSpPr>
        <dsp:cNvPr id="0" name=""/>
        <dsp:cNvSpPr/>
      </dsp:nvSpPr>
      <dsp:spPr>
        <a:xfrm>
          <a:off x="3900965" y="3465974"/>
          <a:ext cx="1290502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 smtClean="0"/>
            <a:t>Checkpointing</a:t>
          </a:r>
          <a:r>
            <a:rPr lang="en-US" sz="1600" kern="1200" dirty="0" smtClean="0"/>
            <a:t> and rollback</a:t>
          </a:r>
          <a:endParaRPr lang="en-US" sz="1600" kern="1200" dirty="0"/>
        </a:p>
      </dsp:txBody>
      <dsp:txXfrm>
        <a:off x="3900965" y="3465974"/>
        <a:ext cx="1290502" cy="645251"/>
      </dsp:txXfrm>
    </dsp:sp>
    <dsp:sp modelId="{67A44139-B3F0-4118-89E8-A44A0D503C36}">
      <dsp:nvSpPr>
        <dsp:cNvPr id="0" name=""/>
        <dsp:cNvSpPr/>
      </dsp:nvSpPr>
      <dsp:spPr>
        <a:xfrm>
          <a:off x="5656578" y="717204"/>
          <a:ext cx="1290502" cy="645251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Failure prevention</a:t>
          </a:r>
          <a:endParaRPr lang="en-US" sz="1800" kern="1200" dirty="0"/>
        </a:p>
      </dsp:txBody>
      <dsp:txXfrm>
        <a:off x="5656578" y="717204"/>
        <a:ext cx="1290502" cy="645251"/>
      </dsp:txXfrm>
    </dsp:sp>
    <dsp:sp modelId="{1B4F947A-69EB-46FF-A1EA-7664283D213E}">
      <dsp:nvSpPr>
        <dsp:cNvPr id="0" name=""/>
        <dsp:cNvSpPr/>
      </dsp:nvSpPr>
      <dsp:spPr>
        <a:xfrm>
          <a:off x="5979204" y="1633460"/>
          <a:ext cx="2155655" cy="896537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u="none" kern="1200" dirty="0" smtClean="0"/>
            <a:t>Removal of a component to prevent anticipated failure– auto/manual reboot</a:t>
          </a:r>
          <a:endParaRPr lang="en-US" sz="1600" b="0" u="none" kern="1200" dirty="0"/>
        </a:p>
      </dsp:txBody>
      <dsp:txXfrm>
        <a:off x="5979204" y="1633460"/>
        <a:ext cx="2155655" cy="896537"/>
      </dsp:txXfrm>
    </dsp:sp>
    <dsp:sp modelId="{78B1DB83-1FBB-4B72-AADA-6CBB1DAEF356}">
      <dsp:nvSpPr>
        <dsp:cNvPr id="0" name=""/>
        <dsp:cNvSpPr/>
      </dsp:nvSpPr>
      <dsp:spPr>
        <a:xfrm>
          <a:off x="5979204" y="2801004"/>
          <a:ext cx="2357296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reate transaction</a:t>
          </a:r>
          <a:endParaRPr lang="en-US" sz="1600" kern="1200" dirty="0"/>
        </a:p>
      </dsp:txBody>
      <dsp:txXfrm>
        <a:off x="5979204" y="2801004"/>
        <a:ext cx="2357296" cy="645251"/>
      </dsp:txXfrm>
    </dsp:sp>
    <dsp:sp modelId="{43C79B55-7800-4403-B3B4-49E5363FFF1E}">
      <dsp:nvSpPr>
        <dsp:cNvPr id="0" name=""/>
        <dsp:cNvSpPr/>
      </dsp:nvSpPr>
      <dsp:spPr>
        <a:xfrm>
          <a:off x="5979204" y="3717261"/>
          <a:ext cx="2308051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Process monitor- that can detect, remove and restart faulty process</a:t>
          </a:r>
          <a:endParaRPr lang="en-US" sz="1600" kern="1200" dirty="0"/>
        </a:p>
      </dsp:txBody>
      <dsp:txXfrm>
        <a:off x="5979204" y="3717261"/>
        <a:ext cx="2308051" cy="64525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DF7D20-97CE-45B5-8272-1D8DFBF4322E}">
      <dsp:nvSpPr>
        <dsp:cNvPr id="0" name=""/>
        <dsp:cNvSpPr/>
      </dsp:nvSpPr>
      <dsp:spPr>
        <a:xfrm>
          <a:off x="6279445" y="1559371"/>
          <a:ext cx="687722" cy="32333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33392"/>
              </a:lnTo>
              <a:lnTo>
                <a:pt x="687722" y="3233392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0CA387-8BDE-4005-BE6C-725A759AE03C}">
      <dsp:nvSpPr>
        <dsp:cNvPr id="0" name=""/>
        <dsp:cNvSpPr/>
      </dsp:nvSpPr>
      <dsp:spPr>
        <a:xfrm>
          <a:off x="6279445" y="1559371"/>
          <a:ext cx="655397" cy="24586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58686"/>
              </a:lnTo>
              <a:lnTo>
                <a:pt x="655397" y="2458686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628582-088E-42FA-B6EC-953F652565B0}">
      <dsp:nvSpPr>
        <dsp:cNvPr id="0" name=""/>
        <dsp:cNvSpPr/>
      </dsp:nvSpPr>
      <dsp:spPr>
        <a:xfrm>
          <a:off x="6279445" y="1559371"/>
          <a:ext cx="629696" cy="178077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80778"/>
              </a:lnTo>
              <a:lnTo>
                <a:pt x="629696" y="178077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E82B1A-B1F2-4CC5-9B64-B60015CBF624}">
      <dsp:nvSpPr>
        <dsp:cNvPr id="0" name=""/>
        <dsp:cNvSpPr/>
      </dsp:nvSpPr>
      <dsp:spPr>
        <a:xfrm>
          <a:off x="6279445" y="1559371"/>
          <a:ext cx="668376" cy="11007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00721"/>
              </a:lnTo>
              <a:lnTo>
                <a:pt x="668376" y="110072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DC7120-FE6F-49D8-95F2-AB1B2B6AC9A8}">
      <dsp:nvSpPr>
        <dsp:cNvPr id="0" name=""/>
        <dsp:cNvSpPr/>
      </dsp:nvSpPr>
      <dsp:spPr>
        <a:xfrm>
          <a:off x="6279445" y="1559371"/>
          <a:ext cx="323199" cy="3860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6006"/>
              </a:lnTo>
              <a:lnTo>
                <a:pt x="323199" y="386006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37CAE9-66E1-459B-A733-9B53B02E07AF}">
      <dsp:nvSpPr>
        <dsp:cNvPr id="0" name=""/>
        <dsp:cNvSpPr/>
      </dsp:nvSpPr>
      <dsp:spPr>
        <a:xfrm>
          <a:off x="3765151" y="552648"/>
          <a:ext cx="2991554" cy="4949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7465"/>
              </a:lnTo>
              <a:lnTo>
                <a:pt x="2991554" y="387465"/>
              </a:lnTo>
              <a:lnTo>
                <a:pt x="2991554" y="494939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94D9E8-C2A3-4765-9477-D710CC646957}">
      <dsp:nvSpPr>
        <dsp:cNvPr id="0" name=""/>
        <dsp:cNvSpPr/>
      </dsp:nvSpPr>
      <dsp:spPr>
        <a:xfrm>
          <a:off x="3036751" y="1467695"/>
          <a:ext cx="345187" cy="31548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54802"/>
              </a:lnTo>
              <a:lnTo>
                <a:pt x="345187" y="3154802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4D3FE4-1739-4B3C-ACD2-597D18FBC50F}">
      <dsp:nvSpPr>
        <dsp:cNvPr id="0" name=""/>
        <dsp:cNvSpPr/>
      </dsp:nvSpPr>
      <dsp:spPr>
        <a:xfrm>
          <a:off x="3036751" y="1467695"/>
          <a:ext cx="345187" cy="22668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66831"/>
              </a:lnTo>
              <a:lnTo>
                <a:pt x="345187" y="226683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E10A4AF-D8A8-4F2D-9661-56E5DBB5B2C5}">
      <dsp:nvSpPr>
        <dsp:cNvPr id="0" name=""/>
        <dsp:cNvSpPr/>
      </dsp:nvSpPr>
      <dsp:spPr>
        <a:xfrm>
          <a:off x="3036751" y="1467695"/>
          <a:ext cx="345187" cy="13444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44427"/>
              </a:lnTo>
              <a:lnTo>
                <a:pt x="345187" y="1344427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07306D-4BD7-4477-BB61-A954489058D6}">
      <dsp:nvSpPr>
        <dsp:cNvPr id="0" name=""/>
        <dsp:cNvSpPr/>
      </dsp:nvSpPr>
      <dsp:spPr>
        <a:xfrm>
          <a:off x="3036751" y="1467695"/>
          <a:ext cx="345187" cy="5146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4674"/>
              </a:lnTo>
              <a:lnTo>
                <a:pt x="345187" y="514674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956835-3386-449C-A89B-65F7C680246D}">
      <dsp:nvSpPr>
        <dsp:cNvPr id="0" name=""/>
        <dsp:cNvSpPr/>
      </dsp:nvSpPr>
      <dsp:spPr>
        <a:xfrm>
          <a:off x="3765151" y="552648"/>
          <a:ext cx="187568" cy="5541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46653"/>
              </a:lnTo>
              <a:lnTo>
                <a:pt x="187568" y="446653"/>
              </a:lnTo>
              <a:lnTo>
                <a:pt x="187568" y="554127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00A05E-81E0-4C4F-9FC9-0B1D7BC7DE00}">
      <dsp:nvSpPr>
        <dsp:cNvPr id="0" name=""/>
        <dsp:cNvSpPr/>
      </dsp:nvSpPr>
      <dsp:spPr>
        <a:xfrm>
          <a:off x="102356" y="1647346"/>
          <a:ext cx="354846" cy="27995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99543"/>
              </a:lnTo>
              <a:lnTo>
                <a:pt x="354846" y="2799543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C84909-550F-4BDC-8966-B86E5E1786AE}">
      <dsp:nvSpPr>
        <dsp:cNvPr id="0" name=""/>
        <dsp:cNvSpPr/>
      </dsp:nvSpPr>
      <dsp:spPr>
        <a:xfrm>
          <a:off x="102356" y="1647346"/>
          <a:ext cx="290371" cy="203754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37545"/>
              </a:lnTo>
              <a:lnTo>
                <a:pt x="290371" y="2037545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B3E9C0-0CE1-4B88-9E71-F7CE1A7F99D7}">
      <dsp:nvSpPr>
        <dsp:cNvPr id="0" name=""/>
        <dsp:cNvSpPr/>
      </dsp:nvSpPr>
      <dsp:spPr>
        <a:xfrm>
          <a:off x="102356" y="1647346"/>
          <a:ext cx="278641" cy="12755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75546"/>
              </a:lnTo>
              <a:lnTo>
                <a:pt x="278641" y="1275546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3ED5F7-10A0-45C9-B814-5804FA76917E}">
      <dsp:nvSpPr>
        <dsp:cNvPr id="0" name=""/>
        <dsp:cNvSpPr/>
      </dsp:nvSpPr>
      <dsp:spPr>
        <a:xfrm>
          <a:off x="102356" y="1647346"/>
          <a:ext cx="354846" cy="5135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3543"/>
              </a:lnTo>
              <a:lnTo>
                <a:pt x="354846" y="513543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3BC68A0-CABF-4126-884C-C90818E1E26E}">
      <dsp:nvSpPr>
        <dsp:cNvPr id="0" name=""/>
        <dsp:cNvSpPr/>
      </dsp:nvSpPr>
      <dsp:spPr>
        <a:xfrm>
          <a:off x="511782" y="552648"/>
          <a:ext cx="3253368" cy="629559"/>
        </a:xfrm>
        <a:custGeom>
          <a:avLst/>
          <a:gdLst/>
          <a:ahLst/>
          <a:cxnLst/>
          <a:rect l="0" t="0" r="0" b="0"/>
          <a:pathLst>
            <a:path>
              <a:moveTo>
                <a:pt x="3253368" y="0"/>
              </a:moveTo>
              <a:lnTo>
                <a:pt x="3253368" y="522084"/>
              </a:lnTo>
              <a:lnTo>
                <a:pt x="0" y="522084"/>
              </a:lnTo>
              <a:lnTo>
                <a:pt x="0" y="629559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D90FEA-3135-49C2-A3C0-CFEDDC6405B3}">
      <dsp:nvSpPr>
        <dsp:cNvPr id="0" name=""/>
        <dsp:cNvSpPr/>
      </dsp:nvSpPr>
      <dsp:spPr>
        <a:xfrm>
          <a:off x="2841112" y="0"/>
          <a:ext cx="1848078" cy="552648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err="1" smtClean="0"/>
            <a:t>Modifiabilty</a:t>
          </a:r>
          <a:endParaRPr lang="en-US" sz="2000" kern="1200" dirty="0"/>
        </a:p>
      </dsp:txBody>
      <dsp:txXfrm>
        <a:off x="2841112" y="0"/>
        <a:ext cx="1848078" cy="552648"/>
      </dsp:txXfrm>
    </dsp:sp>
    <dsp:sp modelId="{5E5C4910-D5C2-4117-9825-0F4E2308A1D4}">
      <dsp:nvSpPr>
        <dsp:cNvPr id="0" name=""/>
        <dsp:cNvSpPr/>
      </dsp:nvSpPr>
      <dsp:spPr>
        <a:xfrm>
          <a:off x="0" y="1182207"/>
          <a:ext cx="1023565" cy="46513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Localize change</a:t>
          </a:r>
          <a:endParaRPr lang="en-US" sz="1800" kern="1200" dirty="0"/>
        </a:p>
      </dsp:txBody>
      <dsp:txXfrm>
        <a:off x="0" y="1182207"/>
        <a:ext cx="1023565" cy="465138"/>
      </dsp:txXfrm>
    </dsp:sp>
    <dsp:sp modelId="{1064D61A-5C37-497D-A6F5-6312AB6E3F5A}">
      <dsp:nvSpPr>
        <dsp:cNvPr id="0" name=""/>
        <dsp:cNvSpPr/>
      </dsp:nvSpPr>
      <dsp:spPr>
        <a:xfrm>
          <a:off x="457202" y="1904998"/>
          <a:ext cx="1921068" cy="511782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Factoring common service</a:t>
          </a:r>
          <a:endParaRPr lang="en-US" sz="1800" kern="1200" dirty="0"/>
        </a:p>
      </dsp:txBody>
      <dsp:txXfrm>
        <a:off x="457202" y="1904998"/>
        <a:ext cx="1921068" cy="511782"/>
      </dsp:txXfrm>
    </dsp:sp>
    <dsp:sp modelId="{A77E27D0-EFD7-495B-9E1A-5A5371B8AB84}">
      <dsp:nvSpPr>
        <dsp:cNvPr id="0" name=""/>
        <dsp:cNvSpPr/>
      </dsp:nvSpPr>
      <dsp:spPr>
        <a:xfrm>
          <a:off x="380998" y="2667001"/>
          <a:ext cx="1745793" cy="511782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Anticipate change</a:t>
          </a:r>
          <a:endParaRPr lang="en-US" sz="1800" kern="1200" dirty="0"/>
        </a:p>
      </dsp:txBody>
      <dsp:txXfrm>
        <a:off x="380998" y="2667001"/>
        <a:ext cx="1745793" cy="511782"/>
      </dsp:txXfrm>
    </dsp:sp>
    <dsp:sp modelId="{984A4F3B-0A00-4E5A-9092-1922B8A7FAB3}">
      <dsp:nvSpPr>
        <dsp:cNvPr id="0" name=""/>
        <dsp:cNvSpPr/>
      </dsp:nvSpPr>
      <dsp:spPr>
        <a:xfrm>
          <a:off x="392728" y="3429000"/>
          <a:ext cx="1713080" cy="511782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Generalize module</a:t>
          </a:r>
          <a:endParaRPr lang="en-US" sz="1800" kern="1200" dirty="0"/>
        </a:p>
      </dsp:txBody>
      <dsp:txXfrm>
        <a:off x="392728" y="3429000"/>
        <a:ext cx="1713080" cy="511782"/>
      </dsp:txXfrm>
    </dsp:sp>
    <dsp:sp modelId="{BA6AC4DB-0F64-47C4-8289-FB0923B8558A}">
      <dsp:nvSpPr>
        <dsp:cNvPr id="0" name=""/>
        <dsp:cNvSpPr/>
      </dsp:nvSpPr>
      <dsp:spPr>
        <a:xfrm>
          <a:off x="457202" y="4190998"/>
          <a:ext cx="1796910" cy="511782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Limit possible options</a:t>
          </a:r>
          <a:endParaRPr lang="en-US" sz="1800" kern="1200" dirty="0"/>
        </a:p>
      </dsp:txBody>
      <dsp:txXfrm>
        <a:off x="457202" y="4190998"/>
        <a:ext cx="1796910" cy="511782"/>
      </dsp:txXfrm>
    </dsp:sp>
    <dsp:sp modelId="{F0ED6141-24DB-4164-A2D4-B51E750525CD}">
      <dsp:nvSpPr>
        <dsp:cNvPr id="0" name=""/>
        <dsp:cNvSpPr/>
      </dsp:nvSpPr>
      <dsp:spPr>
        <a:xfrm>
          <a:off x="2807759" y="1106775"/>
          <a:ext cx="2289920" cy="360919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revent Ripple effect</a:t>
          </a:r>
          <a:endParaRPr lang="en-US" sz="1800" kern="1200" dirty="0"/>
        </a:p>
      </dsp:txBody>
      <dsp:txXfrm>
        <a:off x="2807759" y="1106775"/>
        <a:ext cx="2289920" cy="360919"/>
      </dsp:txXfrm>
    </dsp:sp>
    <dsp:sp modelId="{CBCDE87F-FA6C-44B8-A9C2-1E747BE7F736}">
      <dsp:nvSpPr>
        <dsp:cNvPr id="0" name=""/>
        <dsp:cNvSpPr/>
      </dsp:nvSpPr>
      <dsp:spPr>
        <a:xfrm>
          <a:off x="3381938" y="1726478"/>
          <a:ext cx="1270009" cy="511782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kern="1200" dirty="0" smtClean="0"/>
            <a:t>Hide Information</a:t>
          </a:r>
          <a:endParaRPr lang="en-US" sz="1800" b="0" kern="1200" dirty="0"/>
        </a:p>
      </dsp:txBody>
      <dsp:txXfrm>
        <a:off x="3381938" y="1726478"/>
        <a:ext cx="1270009" cy="511782"/>
      </dsp:txXfrm>
    </dsp:sp>
    <dsp:sp modelId="{5D0F02D1-4A23-4B53-AF4F-3529BE69829E}">
      <dsp:nvSpPr>
        <dsp:cNvPr id="0" name=""/>
        <dsp:cNvSpPr/>
      </dsp:nvSpPr>
      <dsp:spPr>
        <a:xfrm>
          <a:off x="3381938" y="2556231"/>
          <a:ext cx="1818179" cy="511782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kern="1200" dirty="0" smtClean="0"/>
            <a:t>Maintain Existing Interface</a:t>
          </a:r>
          <a:endParaRPr lang="en-US" sz="1800" b="0" kern="1200" dirty="0"/>
        </a:p>
      </dsp:txBody>
      <dsp:txXfrm>
        <a:off x="3381938" y="2556231"/>
        <a:ext cx="1818179" cy="511782"/>
      </dsp:txXfrm>
    </dsp:sp>
    <dsp:sp modelId="{7BABB840-5689-4566-85C9-55C4A127C4C6}">
      <dsp:nvSpPr>
        <dsp:cNvPr id="0" name=""/>
        <dsp:cNvSpPr/>
      </dsp:nvSpPr>
      <dsp:spPr>
        <a:xfrm>
          <a:off x="3381938" y="3344986"/>
          <a:ext cx="1913760" cy="7790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kern="1200" dirty="0" smtClean="0"/>
            <a:t>Restrict Communication Paths</a:t>
          </a:r>
          <a:endParaRPr lang="en-US" sz="1800" b="0" kern="1200" dirty="0"/>
        </a:p>
      </dsp:txBody>
      <dsp:txXfrm>
        <a:off x="3381938" y="3344986"/>
        <a:ext cx="1913760" cy="779081"/>
      </dsp:txXfrm>
    </dsp:sp>
    <dsp:sp modelId="{50D60845-A14B-4DD0-8DB4-8B07FEB31A21}">
      <dsp:nvSpPr>
        <dsp:cNvPr id="0" name=""/>
        <dsp:cNvSpPr/>
      </dsp:nvSpPr>
      <dsp:spPr>
        <a:xfrm>
          <a:off x="3381938" y="4366606"/>
          <a:ext cx="1985604" cy="511782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Use intermediary between modules</a:t>
          </a:r>
          <a:endParaRPr lang="en-US" sz="1800" kern="1200" dirty="0"/>
        </a:p>
      </dsp:txBody>
      <dsp:txXfrm>
        <a:off x="3381938" y="4366606"/>
        <a:ext cx="1985604" cy="511782"/>
      </dsp:txXfrm>
    </dsp:sp>
    <dsp:sp modelId="{A5F2589C-C16C-45F2-9A3D-F2A6CB2476D1}">
      <dsp:nvSpPr>
        <dsp:cNvPr id="0" name=""/>
        <dsp:cNvSpPr/>
      </dsp:nvSpPr>
      <dsp:spPr>
        <a:xfrm>
          <a:off x="6160130" y="1047588"/>
          <a:ext cx="1193149" cy="511782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Defer binding</a:t>
          </a:r>
          <a:endParaRPr lang="en-US" sz="1800" kern="1200" dirty="0"/>
        </a:p>
      </dsp:txBody>
      <dsp:txXfrm>
        <a:off x="6160130" y="1047588"/>
        <a:ext cx="1193149" cy="511782"/>
      </dsp:txXfrm>
    </dsp:sp>
    <dsp:sp modelId="{6E033C69-6BA8-4812-AE4E-0022A986E944}">
      <dsp:nvSpPr>
        <dsp:cNvPr id="0" name=""/>
        <dsp:cNvSpPr/>
      </dsp:nvSpPr>
      <dsp:spPr>
        <a:xfrm>
          <a:off x="6602645" y="1689486"/>
          <a:ext cx="1931754" cy="511782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Runtime registration</a:t>
          </a:r>
          <a:endParaRPr lang="en-US" sz="1600" kern="1200" dirty="0"/>
        </a:p>
      </dsp:txBody>
      <dsp:txXfrm>
        <a:off x="6602645" y="1689486"/>
        <a:ext cx="1931754" cy="511782"/>
      </dsp:txXfrm>
    </dsp:sp>
    <dsp:sp modelId="{428A54D9-43F6-47B6-B3A2-FDCE09CB5A97}">
      <dsp:nvSpPr>
        <dsp:cNvPr id="0" name=""/>
        <dsp:cNvSpPr/>
      </dsp:nvSpPr>
      <dsp:spPr>
        <a:xfrm>
          <a:off x="6947822" y="2404201"/>
          <a:ext cx="1586577" cy="511782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onfiguration files</a:t>
          </a:r>
          <a:endParaRPr lang="en-US" sz="1600" kern="1200" dirty="0"/>
        </a:p>
      </dsp:txBody>
      <dsp:txXfrm>
        <a:off x="6947822" y="2404201"/>
        <a:ext cx="1586577" cy="511782"/>
      </dsp:txXfrm>
    </dsp:sp>
    <dsp:sp modelId="{93507A0E-B606-4F7A-9C01-283769128FF2}">
      <dsp:nvSpPr>
        <dsp:cNvPr id="0" name=""/>
        <dsp:cNvSpPr/>
      </dsp:nvSpPr>
      <dsp:spPr>
        <a:xfrm>
          <a:off x="6909141" y="3084258"/>
          <a:ext cx="1625258" cy="511782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Polymorphism</a:t>
          </a:r>
          <a:endParaRPr lang="en-US" sz="1600" kern="1200" dirty="0"/>
        </a:p>
      </dsp:txBody>
      <dsp:txXfrm>
        <a:off x="6909141" y="3084258"/>
        <a:ext cx="1625258" cy="511782"/>
      </dsp:txXfrm>
    </dsp:sp>
    <dsp:sp modelId="{0B051ACB-AD4B-44A0-B203-A3F060DC178D}">
      <dsp:nvSpPr>
        <dsp:cNvPr id="0" name=""/>
        <dsp:cNvSpPr/>
      </dsp:nvSpPr>
      <dsp:spPr>
        <a:xfrm>
          <a:off x="6934843" y="3762165"/>
          <a:ext cx="1599556" cy="511782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omponent replacement</a:t>
          </a:r>
          <a:endParaRPr lang="en-US" sz="1600" kern="1200" dirty="0"/>
        </a:p>
      </dsp:txBody>
      <dsp:txXfrm>
        <a:off x="6934843" y="3762165"/>
        <a:ext cx="1599556" cy="511782"/>
      </dsp:txXfrm>
    </dsp:sp>
    <dsp:sp modelId="{B48C34C0-3268-4BDA-9392-41361EEA60C6}">
      <dsp:nvSpPr>
        <dsp:cNvPr id="0" name=""/>
        <dsp:cNvSpPr/>
      </dsp:nvSpPr>
      <dsp:spPr>
        <a:xfrm>
          <a:off x="6967167" y="4405410"/>
          <a:ext cx="1567232" cy="774705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Adherence to defined protocols</a:t>
          </a:r>
          <a:endParaRPr lang="en-US" sz="1600" kern="1200" dirty="0"/>
        </a:p>
      </dsp:txBody>
      <dsp:txXfrm>
        <a:off x="6967167" y="4405410"/>
        <a:ext cx="1567232" cy="77470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4/5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8379383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6D13BD-4742-4A2D-88DE-6ACD5EA17108}" type="slidenum">
              <a:rPr lang="en-US" smtClean="0"/>
              <a:pPr>
                <a:defRPr/>
              </a:pPr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9439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6D13BD-4742-4A2D-88DE-6ACD5EA17108}" type="slidenum">
              <a:rPr lang="en-US" smtClean="0"/>
              <a:pPr>
                <a:defRPr/>
              </a:pPr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9439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4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9B309A-2E22-4953-827C-780047AC8F1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9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7652559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4.xml"/><Relationship Id="rId10" Type="http://schemas.openxmlformats.org/officeDocument/2006/relationships/image" Target="../media/image4.emf"/><Relationship Id="rId4" Type="http://schemas.openxmlformats.org/officeDocument/2006/relationships/tags" Target="../tags/tag3.xml"/><Relationship Id="rId9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78D9A5-F560-4698-83F3-2DBDB8CBBADA}" type="datetime1">
              <a:rPr lang="en-US" smtClean="0"/>
              <a:t>4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EA29F7-02A9-4E41-A7CF-7F73D5195323}" type="datetime1">
              <a:rPr lang="en-US" smtClean="0"/>
              <a:t>4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A3CFB3-E62D-470E-B16C-D02118BC0DE9}" type="datetime1">
              <a:rPr lang="en-US" smtClean="0"/>
              <a:t>4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5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1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smtClean="0"/>
              <a:t>SS ZG653 Second Semester 2014-15</a:t>
            </a: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7E5A91-903D-442A-9BF0-9303AAECEF41}" type="datetime1">
              <a:rPr lang="en-US" smtClean="0"/>
              <a:t>4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79AB55-BD64-420A-82D1-DC859C545DE6}" type="datetime1">
              <a:rPr lang="en-US" smtClean="0"/>
              <a:t>4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60D7C1-4D6A-4A7E-B62A-43EEA8C6E75A}" type="datetime1">
              <a:rPr lang="en-US" smtClean="0"/>
              <a:t>4/5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582DC4-6031-4ABC-8CCF-D5A96879B0A7}" type="datetime1">
              <a:rPr lang="en-US" smtClean="0"/>
              <a:t>4/5/20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C661B5-71AC-41CC-B256-302283430F03}" type="datetime1">
              <a:rPr lang="en-US" smtClean="0"/>
              <a:t>4/5/20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295F5E-DBAE-4450-9DC8-F659C118E5B0}" type="datetime1">
              <a:rPr lang="en-US" smtClean="0"/>
              <a:t>4/5/20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604AF4-9FC2-4579-998E-A5613C261986}" type="datetime1">
              <a:rPr lang="en-US" smtClean="0"/>
              <a:t>4/5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EAFD9E-8590-45F6-8EFF-4FD9D81E5D02}" type="datetime1">
              <a:rPr lang="en-US" smtClean="0"/>
              <a:t>4/5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3B55262E-EC00-455C-B58C-3809008F92F1}" type="datetime1">
              <a:rPr lang="en-US" smtClean="0"/>
              <a:t>4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ei.cmu.edu/architecture/start/glossary/classicdefs.cfm" TargetMode="Externa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Lecture 9: Review Session</a:t>
            </a:r>
            <a:endParaRPr lang="en-GB" sz="3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391400" y="6547950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February 11, 201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Three Quality Classes</a:t>
            </a:r>
            <a:endParaRPr lang="en-IN" altLang="en-US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CDA10A1-C47A-4F61-9247-283DA1FF1877}" type="datetime1">
              <a:rPr lang="en-US" smtClean="0"/>
              <a:t>4/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490080638"/>
              </p:ext>
            </p:extLst>
          </p:nvPr>
        </p:nvGraphicFramePr>
        <p:xfrm>
          <a:off x="1447800" y="14478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Oval 3"/>
          <p:cNvSpPr/>
          <p:nvPr/>
        </p:nvSpPr>
        <p:spPr>
          <a:xfrm>
            <a:off x="1295400" y="2514600"/>
            <a:ext cx="2133600" cy="304800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Line Callout 1 (Accent Bar) 4"/>
          <p:cNvSpPr/>
          <p:nvPr/>
        </p:nvSpPr>
        <p:spPr>
          <a:xfrm>
            <a:off x="3810000" y="5583837"/>
            <a:ext cx="5105400" cy="816963"/>
          </a:xfrm>
          <a:prstGeom prst="accentCallout1">
            <a:avLst>
              <a:gd name="adj1" fmla="val 16812"/>
              <a:gd name="adj2" fmla="val -82"/>
              <a:gd name="adj3" fmla="val -174955"/>
              <a:gd name="adj4" fmla="val -26415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We will consider these attribu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We will use “</a:t>
            </a:r>
            <a:r>
              <a:rPr lang="en-US" sz="1400" b="1" u="sng" dirty="0" smtClean="0">
                <a:solidFill>
                  <a:schemeClr val="tx1"/>
                </a:solidFill>
              </a:rPr>
              <a:t>Quality Attribute Scenarios</a:t>
            </a:r>
            <a:r>
              <a:rPr lang="en-US" sz="1400" dirty="0" smtClean="0">
                <a:solidFill>
                  <a:schemeClr val="tx1"/>
                </a:solidFill>
              </a:rPr>
              <a:t>” to characterize the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which is a quality attribute specific  requirement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357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chitectural Tactic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8382000" cy="2362200"/>
          </a:xfrm>
        </p:spPr>
        <p:txBody>
          <a:bodyPr/>
          <a:lstStyle/>
          <a:p>
            <a:r>
              <a:rPr lang="en-US" dirty="0" smtClean="0"/>
              <a:t>To achieve a quality one needs to take a design decision- called Tactic</a:t>
            </a:r>
          </a:p>
          <a:p>
            <a:pPr lvl="1"/>
            <a:r>
              <a:rPr lang="en-US" dirty="0" smtClean="0"/>
              <a:t>Collection of such tactics is </a:t>
            </a:r>
            <a:r>
              <a:rPr lang="en-US" b="1" dirty="0" smtClean="0"/>
              <a:t>architectural strategy</a:t>
            </a:r>
          </a:p>
          <a:p>
            <a:pPr lvl="1"/>
            <a:r>
              <a:rPr lang="en-US" dirty="0" smtClean="0"/>
              <a:t>A pattern can be a collection of tactics</a:t>
            </a:r>
          </a:p>
          <a:p>
            <a:pPr lvl="2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E73D838-DD65-4E93-B4BC-0CF7733D5FE9}" type="datetime1">
              <a:rPr lang="en-US" smtClean="0"/>
              <a:t>4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  <p:sp>
        <p:nvSpPr>
          <p:cNvPr id="7" name="Rounded Rectangle 6"/>
          <p:cNvSpPr/>
          <p:nvPr/>
        </p:nvSpPr>
        <p:spPr>
          <a:xfrm>
            <a:off x="228600" y="4565308"/>
            <a:ext cx="1395442" cy="1571636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 smtClean="0"/>
              <a:t>User, another software</a:t>
            </a:r>
            <a:endParaRPr lang="en-IN" sz="2000" b="1" dirty="0"/>
          </a:p>
        </p:txBody>
      </p:sp>
      <p:sp>
        <p:nvSpPr>
          <p:cNvPr id="8" name="Rounded Rectangle 7"/>
          <p:cNvSpPr/>
          <p:nvPr/>
        </p:nvSpPr>
        <p:spPr>
          <a:xfrm>
            <a:off x="3124200" y="4419600"/>
            <a:ext cx="3062294" cy="1981200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b" anchorCtr="1"/>
          <a:lstStyle/>
          <a:p>
            <a:pPr algn="ctr">
              <a:defRPr/>
            </a:pPr>
            <a:r>
              <a:rPr lang="en-US" sz="2000" b="1" dirty="0"/>
              <a:t>Environment</a:t>
            </a:r>
            <a:endParaRPr lang="en-IN" sz="2000" b="1" dirty="0"/>
          </a:p>
        </p:txBody>
      </p:sp>
      <p:sp>
        <p:nvSpPr>
          <p:cNvPr id="10" name="Right Arrow 9"/>
          <p:cNvSpPr/>
          <p:nvPr/>
        </p:nvSpPr>
        <p:spPr>
          <a:xfrm>
            <a:off x="1624042" y="4954041"/>
            <a:ext cx="1500198" cy="928694"/>
          </a:xfrm>
          <a:prstGeom prst="rightArrow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/>
              <a:t>Stimulus</a:t>
            </a:r>
            <a:endParaRPr lang="en-IN" sz="2000" b="1" dirty="0"/>
          </a:p>
        </p:txBody>
      </p:sp>
      <p:sp>
        <p:nvSpPr>
          <p:cNvPr id="11" name="Right Arrow 10"/>
          <p:cNvSpPr/>
          <p:nvPr/>
        </p:nvSpPr>
        <p:spPr>
          <a:xfrm>
            <a:off x="6172200" y="4993944"/>
            <a:ext cx="1363816" cy="928694"/>
          </a:xfrm>
          <a:prstGeom prst="rightArrow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2000" b="1" dirty="0"/>
              <a:t>Response</a:t>
            </a:r>
            <a:endParaRPr lang="en-IN" sz="2000" b="1" dirty="0"/>
          </a:p>
        </p:txBody>
      </p:sp>
      <p:sp>
        <p:nvSpPr>
          <p:cNvPr id="12" name="Rounded Rectangle 11"/>
          <p:cNvSpPr/>
          <p:nvPr/>
        </p:nvSpPr>
        <p:spPr>
          <a:xfrm>
            <a:off x="3338514" y="4593416"/>
            <a:ext cx="2619380" cy="1273983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dirty="0" smtClean="0">
                <a:solidFill>
                  <a:schemeClr val="tx1"/>
                </a:solidFill>
              </a:rPr>
              <a:t>Tactics are implemented to achieve the desired response</a:t>
            </a:r>
            <a:endParaRPr lang="en-IN" sz="2000" dirty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596100" y="4104304"/>
            <a:ext cx="21240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ndition that need to be considered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7543800" y="4592391"/>
            <a:ext cx="1475992" cy="1717505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 smtClean="0"/>
              <a:t>Measure or metric</a:t>
            </a:r>
          </a:p>
          <a:p>
            <a:pPr algn="ctr">
              <a:defRPr/>
            </a:pPr>
            <a:r>
              <a:rPr lang="en-US" sz="2000" b="1" dirty="0"/>
              <a:t>t</a:t>
            </a:r>
            <a:r>
              <a:rPr lang="en-US" sz="2000" b="1" dirty="0" smtClean="0"/>
              <a:t>hat indicates the impact</a:t>
            </a:r>
            <a:endParaRPr lang="en-IN" sz="2000" b="1" dirty="0"/>
          </a:p>
        </p:txBody>
      </p:sp>
    </p:spTree>
    <p:extLst>
      <p:ext uri="{BB962C8B-B14F-4D97-AF65-F5344CB8AC3E}">
        <p14:creationId xmlns:p14="http://schemas.microsoft.com/office/powerpoint/2010/main" val="28674919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97180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Review </a:t>
            </a:r>
            <a:br>
              <a:rPr lang="en-US" dirty="0" smtClean="0">
                <a:solidFill>
                  <a:srgbClr val="FF0000"/>
                </a:solidFill>
              </a:rPr>
            </a:br>
            <a:r>
              <a:rPr lang="en-US" dirty="0" smtClean="0">
                <a:solidFill>
                  <a:srgbClr val="FF0000"/>
                </a:solidFill>
              </a:rPr>
              <a:t>Quality Attribut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8E9BF2C-2F76-4EEE-ACAC-13001773FD62}" type="datetime1">
              <a:rPr lang="en-US" smtClean="0"/>
              <a:t>4/5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3939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Availability</a:t>
            </a:r>
            <a:endParaRPr lang="en-IN" altLang="en-US" smtClean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627" name="Content Placehold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eaLnBrk="1" hangingPunct="1"/>
                <a:r>
                  <a:rPr lang="en-US" altLang="en-US" sz="2800" dirty="0" smtClean="0"/>
                  <a:t>Faults and failures</a:t>
                </a:r>
              </a:p>
              <a:p>
                <a:pPr lvl="1" eaLnBrk="1" hangingPunct="1"/>
                <a:r>
                  <a:rPr lang="en-US" altLang="en-US" sz="2400" dirty="0" smtClean="0"/>
                  <a:t>Faults can be a failure if it is not corrected or masked</a:t>
                </a:r>
              </a:p>
              <a:p>
                <a:pPr lvl="1" eaLnBrk="1" hangingPunct="1"/>
                <a:r>
                  <a:rPr lang="en-US" altLang="en-US" sz="2400" dirty="0" smtClean="0"/>
                  <a:t>Once the system fails</a:t>
                </a:r>
              </a:p>
              <a:p>
                <a:pPr lvl="2" eaLnBrk="1" hangingPunct="1"/>
                <a:r>
                  <a:rPr lang="en-US" altLang="en-US" sz="2000" dirty="0" smtClean="0"/>
                  <a:t>It is NOT available</a:t>
                </a:r>
              </a:p>
              <a:p>
                <a:pPr lvl="2" eaLnBrk="1" hangingPunct="1"/>
                <a:r>
                  <a:rPr lang="en-US" altLang="en-US" sz="2000" dirty="0" smtClean="0"/>
                  <a:t>It must recover within certain time</a:t>
                </a:r>
              </a:p>
              <a:p>
                <a:pPr lvl="1" eaLnBrk="1" hangingPunct="1">
                  <a:buFont typeface="Arial" pitchFamily="34" charset="0"/>
                  <a:buNone/>
                </a:pPr>
                <a:r>
                  <a:rPr lang="en-US" altLang="en-US" sz="2400" dirty="0" smtClean="0"/>
                  <a:t>Availability A=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altLang="en-US" sz="24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en-US" sz="2400" b="0" i="1" smtClean="0">
                            <a:latin typeface="Cambria Math"/>
                          </a:rPr>
                          <m:t>𝑀𝑒𝑎𝑛</m:t>
                        </m:r>
                        <m:r>
                          <a:rPr lang="en-US" altLang="en-US" sz="2400" b="0" i="1" smtClean="0">
                            <a:latin typeface="Cambria Math"/>
                          </a:rPr>
                          <m:t> </m:t>
                        </m:r>
                        <m:r>
                          <a:rPr lang="en-US" altLang="en-US" sz="2400" b="0" i="1" smtClean="0">
                            <a:latin typeface="Cambria Math"/>
                          </a:rPr>
                          <m:t>𝑡𝑖𝑚𝑒</m:t>
                        </m:r>
                        <m:r>
                          <a:rPr lang="en-US" altLang="en-US" sz="2400" b="0" i="1" smtClean="0">
                            <a:latin typeface="Cambria Math"/>
                          </a:rPr>
                          <m:t> </m:t>
                        </m:r>
                        <m:r>
                          <a:rPr lang="en-US" altLang="en-US" sz="2400" b="0" i="1" smtClean="0">
                            <a:latin typeface="Cambria Math"/>
                          </a:rPr>
                          <m:t>𝑡𝑜</m:t>
                        </m:r>
                        <m:r>
                          <a:rPr lang="en-US" altLang="en-US" sz="2400" b="0" i="1" smtClean="0">
                            <a:latin typeface="Cambria Math"/>
                          </a:rPr>
                          <m:t> </m:t>
                        </m:r>
                        <m:r>
                          <a:rPr lang="en-US" altLang="en-US" sz="2400" b="0" i="1" smtClean="0">
                            <a:latin typeface="Cambria Math"/>
                          </a:rPr>
                          <m:t>𝑓𝑎𝑖𝑙𝑢𝑟𝑒</m:t>
                        </m:r>
                        <m:r>
                          <a:rPr lang="en-US" altLang="en-US" sz="2400" b="0" i="1" smtClean="0">
                            <a:latin typeface="Cambria Math"/>
                          </a:rPr>
                          <m:t> (</m:t>
                        </m:r>
                        <m:r>
                          <a:rPr lang="en-US" altLang="en-US" sz="2400" b="0" i="1" smtClean="0">
                            <a:latin typeface="Cambria Math"/>
                          </a:rPr>
                          <m:t>𝑀𝑇𝑇𝐹</m:t>
                        </m:r>
                        <m:r>
                          <a:rPr lang="en-US" altLang="en-US" sz="2400" b="0" i="1" smtClean="0">
                            <a:latin typeface="Cambria Math"/>
                          </a:rPr>
                          <m:t>)</m:t>
                        </m:r>
                      </m:num>
                      <m:den>
                        <m:r>
                          <a:rPr lang="en-US" altLang="en-US" sz="2400" b="0" i="1" smtClean="0">
                            <a:latin typeface="Cambria Math"/>
                          </a:rPr>
                          <m:t>𝑀𝑇𝑇𝐹</m:t>
                        </m:r>
                        <m:r>
                          <a:rPr lang="en-US" altLang="en-US" sz="2400" b="0" i="1" smtClean="0">
                            <a:latin typeface="Cambria Math"/>
                          </a:rPr>
                          <m:t>+</m:t>
                        </m:r>
                        <m:r>
                          <a:rPr lang="en-US" altLang="en-US" sz="2400" b="0" i="1" smtClean="0">
                            <a:latin typeface="Cambria Math"/>
                          </a:rPr>
                          <m:t>𝑀𝑒𝑎𝑛</m:t>
                        </m:r>
                        <m:r>
                          <a:rPr lang="en-US" altLang="en-US" sz="2400" b="0" i="1" smtClean="0">
                            <a:latin typeface="Cambria Math"/>
                          </a:rPr>
                          <m:t> </m:t>
                        </m:r>
                        <m:r>
                          <a:rPr lang="en-US" altLang="en-US" sz="2400" b="0" i="1" smtClean="0">
                            <a:latin typeface="Cambria Math"/>
                          </a:rPr>
                          <m:t>𝑡𝑖𝑚𝑒</m:t>
                        </m:r>
                        <m:r>
                          <a:rPr lang="en-US" altLang="en-US" sz="2400" b="0" i="1" smtClean="0">
                            <a:latin typeface="Cambria Math"/>
                          </a:rPr>
                          <m:t> </m:t>
                        </m:r>
                        <m:r>
                          <a:rPr lang="en-US" altLang="en-US" sz="2400" b="0" i="1" smtClean="0">
                            <a:latin typeface="Cambria Math"/>
                          </a:rPr>
                          <m:t>𝑡𝑜</m:t>
                        </m:r>
                        <m:r>
                          <a:rPr lang="en-US" altLang="en-US" sz="2400" b="0" i="1" smtClean="0">
                            <a:latin typeface="Cambria Math"/>
                          </a:rPr>
                          <m:t> </m:t>
                        </m:r>
                        <m:r>
                          <a:rPr lang="en-US" altLang="en-US" sz="2400" b="0" i="1" smtClean="0">
                            <a:latin typeface="Cambria Math"/>
                          </a:rPr>
                          <m:t>𝑟𝑒𝑐𝑜𝑣𝑒𝑟</m:t>
                        </m:r>
                        <m:r>
                          <a:rPr lang="en-US" altLang="en-US" sz="2400" b="0" i="1" smtClean="0">
                            <a:latin typeface="Cambria Math"/>
                          </a:rPr>
                          <m:t> (</m:t>
                        </m:r>
                        <m:r>
                          <a:rPr lang="en-US" altLang="en-US" sz="2400" b="0" i="1" smtClean="0">
                            <a:latin typeface="Cambria Math"/>
                          </a:rPr>
                          <m:t>𝑀𝑇𝑇𝑅</m:t>
                        </m:r>
                        <m:r>
                          <a:rPr lang="en-US" altLang="en-US" sz="2400" b="0" i="1" smtClean="0">
                            <a:latin typeface="Cambria Math"/>
                          </a:rPr>
                          <m:t>)</m:t>
                        </m:r>
                      </m:den>
                    </m:f>
                  </m:oMath>
                </a14:m>
                <a:endParaRPr lang="en-US" altLang="en-US" sz="2400" dirty="0" smtClean="0"/>
              </a:p>
              <a:p>
                <a:pPr lvl="1" eaLnBrk="1" hangingPunct="1"/>
                <a:r>
                  <a:rPr lang="en-US" sz="2400" dirty="0" smtClean="0">
                    <a:solidFill>
                      <a:srgbClr val="FF0000"/>
                    </a:solidFill>
                  </a:rPr>
                  <a:t>Ability </a:t>
                </a:r>
                <a:r>
                  <a:rPr lang="en-US" sz="2400" dirty="0">
                    <a:solidFill>
                      <a:srgbClr val="FF0000"/>
                    </a:solidFill>
                  </a:rPr>
                  <a:t>of a system to mask or repair </a:t>
                </a:r>
                <a:r>
                  <a:rPr lang="en-US" sz="2400" dirty="0" smtClean="0">
                    <a:solidFill>
                      <a:srgbClr val="FF0000"/>
                    </a:solidFill>
                  </a:rPr>
                  <a:t>faults and provide service</a:t>
                </a:r>
                <a:endParaRPr lang="en-US" altLang="en-US" sz="2400" dirty="0" smtClean="0"/>
              </a:p>
              <a:p>
                <a:pPr lvl="1" eaLnBrk="1" hangingPunct="1"/>
                <a:r>
                  <a:rPr lang="en-US" altLang="en-US" sz="2400" dirty="0" smtClean="0"/>
                  <a:t>Availability 100% means it recovers instantaneously</a:t>
                </a:r>
              </a:p>
              <a:p>
                <a:pPr lvl="1" eaLnBrk="1" hangingPunct="1"/>
                <a:r>
                  <a:rPr lang="en-US" altLang="en-US" sz="2400" dirty="0" smtClean="0"/>
                  <a:t>Availability 99.9% </a:t>
                </a:r>
                <a:r>
                  <a:rPr lang="en-US" altLang="en-US" sz="2400" dirty="0" smtClean="0">
                    <a:sym typeface="Wingdings" panose="05000000000000000000" pitchFamily="2" charset="2"/>
                  </a:rPr>
                  <a:t> there is 0.01% probability that it will not be operational when needed</a:t>
                </a:r>
                <a:endParaRPr lang="en-US" altLang="en-US" sz="2400" dirty="0" smtClean="0"/>
              </a:p>
            </p:txBody>
          </p:sp>
        </mc:Choice>
        <mc:Fallback xmlns="">
          <p:sp>
            <p:nvSpPr>
              <p:cNvPr id="26627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1">
                <a:blip r:embed="rId2"/>
                <a:stretch>
                  <a:fillRect l="-1236" t="-109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146045E-0D90-49D8-94A5-3DCCA2CD7872}" type="datetime1">
              <a:rPr lang="en-US" smtClean="0"/>
              <a:t>4/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570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vailability Tactics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2C55D6B-52FB-4DBA-A3D1-6C686437CD3F}" type="datetime1">
              <a:rPr lang="en-US" smtClean="0"/>
              <a:t>4/5/20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  <p:graphicFrame>
        <p:nvGraphicFramePr>
          <p:cNvPr id="15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82231253"/>
              </p:ext>
            </p:extLst>
          </p:nvPr>
        </p:nvGraphicFramePr>
        <p:xfrm>
          <a:off x="304800" y="1371600"/>
          <a:ext cx="8382000" cy="50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2321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Modifiability</a:t>
            </a:r>
            <a:endParaRPr lang="en-IN" altLang="en-US" smtClean="0"/>
          </a:p>
        </p:txBody>
      </p:sp>
      <p:sp>
        <p:nvSpPr>
          <p:cNvPr id="2867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b="1" dirty="0" smtClean="0"/>
              <a:t>Ability to Modify the system based on the change in requirement so that</a:t>
            </a:r>
          </a:p>
          <a:p>
            <a:pPr lvl="1" eaLnBrk="1" hangingPunct="1"/>
            <a:r>
              <a:rPr lang="en-US" altLang="en-US" b="1" dirty="0" smtClean="0"/>
              <a:t>the time and cost to implement is optimal</a:t>
            </a:r>
          </a:p>
          <a:p>
            <a:pPr lvl="1" eaLnBrk="1" hangingPunct="1"/>
            <a:r>
              <a:rPr lang="en-US" altLang="en-US" b="1" dirty="0" smtClean="0"/>
              <a:t>Impact of modification such as testing, deployment, and change management is minimal 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C5A8047-2D85-47F3-804D-F143EDB9253A}" type="datetime1">
              <a:rPr lang="en-US" smtClean="0"/>
              <a:t>4/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822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ifiability Tactics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F7B7876-3122-44B1-ACA5-516CFCEF8A38}" type="datetime1">
              <a:rPr lang="en-US" smtClean="0"/>
              <a:t>4/5/20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  <p:graphicFrame>
        <p:nvGraphicFramePr>
          <p:cNvPr id="15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56032195"/>
              </p:ext>
            </p:extLst>
          </p:nvPr>
        </p:nvGraphicFramePr>
        <p:xfrm>
          <a:off x="304800" y="1219200"/>
          <a:ext cx="85344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94934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calize Modific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7086600" cy="4648199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sz="1800" dirty="0" smtClean="0"/>
              <a:t>Factoring common service</a:t>
            </a:r>
          </a:p>
          <a:p>
            <a:pPr marL="914400" lvl="1" indent="-514350"/>
            <a:r>
              <a:rPr lang="en-US" sz="1600" dirty="0" smtClean="0"/>
              <a:t>Common services through a specialized module (only implementing module should be impacted)</a:t>
            </a:r>
          </a:p>
          <a:p>
            <a:pPr marL="1314450" lvl="2" indent="-514350"/>
            <a:r>
              <a:rPr lang="en-US" sz="1400" dirty="0" smtClean="0"/>
              <a:t>Heavily used in application framework and middleware</a:t>
            </a:r>
          </a:p>
          <a:p>
            <a:pPr marL="914400" lvl="1" indent="-514350"/>
            <a:r>
              <a:rPr lang="en-US" sz="1600" dirty="0" smtClean="0"/>
              <a:t>Reduce Coupling and increase cohesion</a:t>
            </a:r>
          </a:p>
          <a:p>
            <a:pPr marL="514350" indent="-514350">
              <a:buAutoNum type="arabicPeriod" startAt="2"/>
            </a:pPr>
            <a:r>
              <a:rPr lang="en-US" sz="1800" dirty="0" smtClean="0"/>
              <a:t>Anticipate Expected Changes</a:t>
            </a:r>
          </a:p>
          <a:p>
            <a:pPr marL="914400" lvl="1" indent="-514350"/>
            <a:r>
              <a:rPr lang="en-US" sz="1600" dirty="0" smtClean="0"/>
              <a:t>Quite difficult to anticipate, hence should be coupled with previous one</a:t>
            </a:r>
          </a:p>
          <a:p>
            <a:pPr marL="914400" lvl="1" indent="-514350"/>
            <a:r>
              <a:rPr lang="en-US" sz="1600" dirty="0" smtClean="0"/>
              <a:t>Allow extension points to accommodate changes</a:t>
            </a:r>
          </a:p>
          <a:p>
            <a:pPr marL="514350" indent="-514350">
              <a:buAutoNum type="arabicPeriod" startAt="2"/>
            </a:pPr>
            <a:r>
              <a:rPr lang="en-US" sz="1800" dirty="0" smtClean="0"/>
              <a:t>Generalize the Module</a:t>
            </a:r>
          </a:p>
          <a:p>
            <a:pPr marL="914400" lvl="1" indent="-514350"/>
            <a:r>
              <a:rPr lang="en-US" sz="1600" dirty="0" smtClean="0"/>
              <a:t>Allowing it to perform broader range of functions</a:t>
            </a:r>
          </a:p>
          <a:p>
            <a:pPr marL="914400" lvl="1" indent="-514350"/>
            <a:r>
              <a:rPr lang="en-US" sz="1600" dirty="0" smtClean="0"/>
              <a:t>Externalize configuration parameters (could be described in a language like XML)</a:t>
            </a:r>
          </a:p>
          <a:p>
            <a:pPr marL="1314450" lvl="2" indent="-514350"/>
            <a:r>
              <a:rPr lang="en-US" sz="1400" dirty="0" smtClean="0"/>
              <a:t>The module reconfigure itself based on the configurable parameters</a:t>
            </a:r>
            <a:endParaRPr lang="en-US" sz="1200" dirty="0" smtClean="0"/>
          </a:p>
          <a:p>
            <a:pPr marL="914400" lvl="1" indent="-514350"/>
            <a:r>
              <a:rPr lang="en-US" sz="1600" dirty="0" smtClean="0"/>
              <a:t>Externalize business rules</a:t>
            </a:r>
          </a:p>
          <a:p>
            <a:pPr marL="514350" indent="-514350">
              <a:buAutoNum type="arabicPeriod" startAt="2"/>
            </a:pPr>
            <a:r>
              <a:rPr lang="en-US" sz="1800" dirty="0" smtClean="0"/>
              <a:t>Limit Possible options</a:t>
            </a:r>
          </a:p>
          <a:p>
            <a:pPr marL="914400" lvl="1" indent="-514350"/>
            <a:r>
              <a:rPr lang="en-US" sz="1400" dirty="0" smtClean="0"/>
              <a:t>Do not keep too many options for modules that are part of the framework</a:t>
            </a:r>
          </a:p>
          <a:p>
            <a:pPr marL="514350" indent="-514350"/>
            <a:endParaRPr lang="en-US" sz="1800" dirty="0" smtClean="0"/>
          </a:p>
        </p:txBody>
      </p:sp>
      <p:sp>
        <p:nvSpPr>
          <p:cNvPr id="4" name="Rounded Rectangle 3"/>
          <p:cNvSpPr/>
          <p:nvPr/>
        </p:nvSpPr>
        <p:spPr>
          <a:xfrm>
            <a:off x="7696200" y="2286000"/>
            <a:ext cx="1143000" cy="76200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odule B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7696199" y="4191000"/>
            <a:ext cx="1143000" cy="76200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odule A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7" name="Elbow Connector 6"/>
          <p:cNvCxnSpPr>
            <a:stCxn id="4" idx="2"/>
            <a:endCxn id="5" idx="0"/>
          </p:cNvCxnSpPr>
          <p:nvPr/>
        </p:nvCxnSpPr>
        <p:spPr>
          <a:xfrm rot="5400000">
            <a:off x="7696200" y="3619500"/>
            <a:ext cx="1143000" cy="1"/>
          </a:xfrm>
          <a:prstGeom prst="bentConnector3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229601" y="3200400"/>
            <a:ext cx="9144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Calls/</a:t>
            </a:r>
          </a:p>
          <a:p>
            <a:r>
              <a:rPr lang="en-US" sz="1400" dirty="0"/>
              <a:t>D</a:t>
            </a:r>
            <a:r>
              <a:rPr lang="en-US" sz="1400" dirty="0" smtClean="0"/>
              <a:t>epends on</a:t>
            </a:r>
            <a:endParaRPr lang="en-US" sz="1400" dirty="0"/>
          </a:p>
        </p:txBody>
      </p:sp>
      <p:sp>
        <p:nvSpPr>
          <p:cNvPr id="12" name="5-Point Star 11"/>
          <p:cNvSpPr/>
          <p:nvPr/>
        </p:nvSpPr>
        <p:spPr>
          <a:xfrm>
            <a:off x="8267700" y="4724400"/>
            <a:ext cx="647699" cy="533400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C519DF1-CB6D-40D4-A146-E491C3A84DA6}" type="datetime1">
              <a:rPr lang="en-US" smtClean="0"/>
              <a:t>4/5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4739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79400"/>
            <a:ext cx="9144000" cy="939800"/>
          </a:xfrm>
        </p:spPr>
        <p:txBody>
          <a:bodyPr/>
          <a:lstStyle/>
          <a:p>
            <a:r>
              <a:rPr lang="en-US" sz="4000" dirty="0" smtClean="0"/>
              <a:t>Dependency between two modules (B</a:t>
            </a:r>
            <a:r>
              <a:rPr lang="en-US" sz="4000" dirty="0" smtClean="0">
                <a:sym typeface="Wingdings" panose="05000000000000000000" pitchFamily="2" charset="2"/>
              </a:rPr>
              <a:t> A)</a:t>
            </a:r>
            <a:endParaRPr lang="en-US" sz="4000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79447054"/>
              </p:ext>
            </p:extLst>
          </p:nvPr>
        </p:nvGraphicFramePr>
        <p:xfrm>
          <a:off x="457200" y="1295400"/>
          <a:ext cx="8229600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2121F0-A320-4BFC-A21C-0A6F54AEC43A}" type="datetime1">
              <a:rPr lang="en-US" smtClean="0"/>
              <a:t>4/5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3228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vent Ripple Effect Tactic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7391400" cy="5029200"/>
          </a:xfrm>
        </p:spPr>
        <p:txBody>
          <a:bodyPr>
            <a:normAutofit fontScale="62500" lnSpcReduction="2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dirty="0" smtClean="0"/>
              <a:t>Hide </a:t>
            </a:r>
            <a:r>
              <a:rPr lang="en-US" dirty="0"/>
              <a:t>Information (of A)</a:t>
            </a:r>
            <a:endParaRPr lang="en-US" dirty="0" smtClean="0"/>
          </a:p>
          <a:p>
            <a:pPr marL="914400" lvl="1" indent="-514350"/>
            <a:r>
              <a:rPr lang="en-US" dirty="0" smtClean="0"/>
              <a:t>Use interfaces, allow published API based calls only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Maintain existing Interface (of A)</a:t>
            </a:r>
          </a:p>
          <a:p>
            <a:pPr marL="914400" lvl="1" indent="-514350"/>
            <a:r>
              <a:rPr lang="en-US" dirty="0" smtClean="0"/>
              <a:t>Add new interfaces if needed</a:t>
            </a:r>
          </a:p>
          <a:p>
            <a:pPr marL="914400" lvl="1" indent="-514350"/>
            <a:r>
              <a:rPr lang="en-US" dirty="0" smtClean="0"/>
              <a:t>Use Wrapper, adapter to maintain same interface</a:t>
            </a:r>
          </a:p>
          <a:p>
            <a:pPr marL="914400" lvl="1" indent="-514350"/>
            <a:r>
              <a:rPr lang="en-US" dirty="0" smtClean="0"/>
              <a:t>Use stub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Restrict Communication Paths</a:t>
            </a:r>
          </a:p>
          <a:p>
            <a:pPr marL="914400" lvl="1" indent="-514350"/>
            <a:r>
              <a:rPr lang="en-US" dirty="0" smtClean="0"/>
              <a:t>Too many modules should not depend on A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Use an intermediary between B and A</a:t>
            </a:r>
          </a:p>
          <a:p>
            <a:pPr marL="914400" lvl="1" indent="-514350"/>
            <a:r>
              <a:rPr lang="en-US" dirty="0" smtClean="0"/>
              <a:t>Data </a:t>
            </a:r>
            <a:endParaRPr lang="en-US" dirty="0"/>
          </a:p>
          <a:p>
            <a:pPr marL="1314450" lvl="2" indent="-514350"/>
            <a:r>
              <a:rPr lang="en-US" dirty="0" smtClean="0"/>
              <a:t>Repository from which B can read data created by A (blackboard pattern)</a:t>
            </a:r>
          </a:p>
          <a:p>
            <a:pPr marL="1314450" lvl="2" indent="-514350"/>
            <a:r>
              <a:rPr lang="en-US" dirty="0" smtClean="0"/>
              <a:t>Publish-subscribe (data flowing through a central hub)</a:t>
            </a:r>
          </a:p>
          <a:p>
            <a:pPr marL="1314450" lvl="2" indent="-514350"/>
            <a:r>
              <a:rPr lang="en-US" dirty="0" smtClean="0"/>
              <a:t>MVC pattern</a:t>
            </a:r>
          </a:p>
          <a:p>
            <a:pPr marL="914400" lvl="1" indent="-514350"/>
            <a:r>
              <a:rPr lang="en-US" dirty="0" smtClean="0"/>
              <a:t>Service: Use of design patterns like bridge, mediator, strategy, proxy</a:t>
            </a:r>
          </a:p>
          <a:p>
            <a:pPr marL="914400" lvl="1" indent="-514350"/>
            <a:r>
              <a:rPr lang="en-US" dirty="0" smtClean="0"/>
              <a:t>Identity of A – Use broker pattern which deals with A’s identity</a:t>
            </a:r>
          </a:p>
          <a:p>
            <a:pPr marL="914400" lvl="1" indent="-514350"/>
            <a:r>
              <a:rPr lang="en-US" dirty="0" smtClean="0"/>
              <a:t>Location of A – Use naming service to discover A</a:t>
            </a:r>
          </a:p>
          <a:p>
            <a:pPr marL="914400" lvl="1" indent="-514350"/>
            <a:r>
              <a:rPr lang="en-US" dirty="0" smtClean="0"/>
              <a:t>Existence of A- Use factory pattern</a:t>
            </a:r>
          </a:p>
          <a:p>
            <a:pPr marL="914400" lvl="1" indent="-514350"/>
            <a:endParaRPr lang="en-US" dirty="0" smtClean="0"/>
          </a:p>
          <a:p>
            <a:pPr marL="1314450" lvl="2" indent="-514350"/>
            <a:endParaRPr lang="en-US" dirty="0" smtClean="0"/>
          </a:p>
          <a:p>
            <a:pPr marL="914400" lvl="1" indent="-514350"/>
            <a:endParaRPr lang="en-US" dirty="0" smtClean="0"/>
          </a:p>
          <a:p>
            <a:pPr marL="914400" lvl="1" indent="-514350"/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7696200" y="2286000"/>
            <a:ext cx="1143000" cy="76200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odule B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7696199" y="4191000"/>
            <a:ext cx="1143000" cy="76200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odule A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6" name="Elbow Connector 5"/>
          <p:cNvCxnSpPr>
            <a:stCxn id="4" idx="2"/>
            <a:endCxn id="10" idx="0"/>
          </p:cNvCxnSpPr>
          <p:nvPr/>
        </p:nvCxnSpPr>
        <p:spPr>
          <a:xfrm rot="16200000" flipH="1">
            <a:off x="7734300" y="3581399"/>
            <a:ext cx="1066801" cy="1"/>
          </a:xfrm>
          <a:prstGeom prst="bentConnector3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8229601" y="3200400"/>
            <a:ext cx="9144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Calls/</a:t>
            </a:r>
          </a:p>
          <a:p>
            <a:r>
              <a:rPr lang="en-US" sz="1400" dirty="0"/>
              <a:t>D</a:t>
            </a:r>
            <a:r>
              <a:rPr lang="en-US" sz="1400" dirty="0" smtClean="0"/>
              <a:t>epends on/</a:t>
            </a:r>
          </a:p>
          <a:p>
            <a:r>
              <a:rPr lang="en-US" sz="1400" dirty="0" smtClean="0"/>
              <a:t>Uses</a:t>
            </a:r>
            <a:endParaRPr lang="en-US" sz="1400" dirty="0"/>
          </a:p>
        </p:txBody>
      </p:sp>
      <p:sp>
        <p:nvSpPr>
          <p:cNvPr id="8" name="5-Point Star 7"/>
          <p:cNvSpPr/>
          <p:nvPr/>
        </p:nvSpPr>
        <p:spPr>
          <a:xfrm>
            <a:off x="8267700" y="4724400"/>
            <a:ext cx="647699" cy="533400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/>
          <p:cNvSpPr/>
          <p:nvPr/>
        </p:nvSpPr>
        <p:spPr>
          <a:xfrm>
            <a:off x="8153401" y="4114801"/>
            <a:ext cx="228600" cy="152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62D37CB-7E94-4EE9-B12A-E0E52528F0EF}" type="datetime1">
              <a:rPr lang="en-US" smtClean="0"/>
              <a:t>4/5/2015</a:t>
            </a:fld>
            <a:endParaRPr 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0887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97180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Review </a:t>
            </a:r>
            <a:br>
              <a:rPr lang="en-US" dirty="0" smtClean="0">
                <a:solidFill>
                  <a:srgbClr val="FF0000"/>
                </a:solidFill>
              </a:rPr>
            </a:br>
            <a:r>
              <a:rPr lang="en-US" dirty="0" smtClean="0">
                <a:solidFill>
                  <a:srgbClr val="FF0000"/>
                </a:solidFill>
              </a:rPr>
              <a:t>Intro to </a:t>
            </a:r>
            <a:r>
              <a:rPr lang="en-US" smtClean="0">
                <a:solidFill>
                  <a:srgbClr val="FF0000"/>
                </a:solidFill>
              </a:rPr>
              <a:t>SW Architectur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F4BED-8E1A-46CD-BC14-3C5E52434B01}" type="datetime1">
              <a:rPr lang="en-US" smtClean="0"/>
              <a:t>4/5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7650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Performance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oftware </a:t>
            </a:r>
            <a:r>
              <a:rPr lang="en-US" dirty="0"/>
              <a:t>system’s ability to meet timing </a:t>
            </a:r>
            <a:r>
              <a:rPr lang="en-US" dirty="0" smtClean="0"/>
              <a:t>requirements when it responds to an event  </a:t>
            </a:r>
          </a:p>
          <a:p>
            <a:r>
              <a:rPr lang="en-US" dirty="0" smtClean="0"/>
              <a:t>Events are</a:t>
            </a:r>
          </a:p>
          <a:p>
            <a:pPr lvl="1"/>
            <a:r>
              <a:rPr lang="en-US" dirty="0" smtClean="0"/>
              <a:t>interrupts</a:t>
            </a:r>
            <a:r>
              <a:rPr lang="en-US" dirty="0"/>
              <a:t>, messages, requests from users or other </a:t>
            </a:r>
            <a:r>
              <a:rPr lang="en-US" dirty="0" smtClean="0"/>
              <a:t>systems</a:t>
            </a:r>
          </a:p>
          <a:p>
            <a:pPr lvl="1"/>
            <a:r>
              <a:rPr lang="en-US" dirty="0" smtClean="0"/>
              <a:t>clock </a:t>
            </a:r>
            <a:r>
              <a:rPr lang="en-US" dirty="0"/>
              <a:t>events marking the passage of time </a:t>
            </a:r>
            <a:endParaRPr lang="en-US" dirty="0" smtClean="0"/>
          </a:p>
          <a:p>
            <a:r>
              <a:rPr lang="en-US" dirty="0" smtClean="0"/>
              <a:t>The </a:t>
            </a:r>
            <a:r>
              <a:rPr lang="en-US" dirty="0"/>
              <a:t>system, or some element of the system, must </a:t>
            </a:r>
            <a:r>
              <a:rPr lang="en-US" b="1" u="sng" dirty="0"/>
              <a:t>respond to them </a:t>
            </a:r>
            <a:r>
              <a:rPr lang="en-US" dirty="0"/>
              <a:t>in </a:t>
            </a:r>
            <a:r>
              <a:rPr lang="en-US" dirty="0" smtClean="0"/>
              <a:t>time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57C2E10-5AA4-4612-8823-338AAA2AD5EE}" type="datetime1">
              <a:rPr lang="en-US" smtClean="0"/>
              <a:t>4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474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erformance Tactics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2CBC9C1-2D80-4D1B-8FB1-53E4B03183FC}" type="datetime1">
              <a:rPr lang="en-US" smtClean="0"/>
              <a:t>4/5/20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86068250"/>
              </p:ext>
            </p:extLst>
          </p:nvPr>
        </p:nvGraphicFramePr>
        <p:xfrm>
          <a:off x="304800" y="1371600"/>
          <a:ext cx="8382000" cy="50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6427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cur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eaLnBrk="1" hangingPunct="1">
              <a:buNone/>
            </a:pPr>
            <a:r>
              <a:rPr lang="en-US" altLang="en-US" sz="1800" dirty="0"/>
              <a:t>A measure of the system’s ability to resist unauthorized usage while still providing its services to legitimate users </a:t>
            </a:r>
          </a:p>
          <a:p>
            <a:pPr eaLnBrk="1" hangingPunct="1"/>
            <a:endParaRPr lang="en-US" altLang="en-US" sz="1800" dirty="0" smtClean="0"/>
          </a:p>
          <a:p>
            <a:pPr eaLnBrk="1" hangingPunct="1"/>
            <a:r>
              <a:rPr lang="en-US" altLang="en-US" sz="1800" dirty="0" smtClean="0"/>
              <a:t>Security </a:t>
            </a:r>
            <a:r>
              <a:rPr lang="en-US" altLang="en-US" sz="1800" dirty="0"/>
              <a:t>comprises of</a:t>
            </a:r>
          </a:p>
          <a:p>
            <a:pPr lvl="1"/>
            <a:r>
              <a:rPr lang="en-US" altLang="en-US" sz="1600" dirty="0" smtClean="0"/>
              <a:t>Confidentiality </a:t>
            </a:r>
            <a:endParaRPr lang="en-US" altLang="en-US" sz="1600" dirty="0"/>
          </a:p>
          <a:p>
            <a:pPr lvl="2"/>
            <a:r>
              <a:rPr lang="en-US" sz="1400" dirty="0" smtClean="0"/>
              <a:t>Nobody except you should be able to access your information</a:t>
            </a:r>
            <a:endParaRPr lang="en-US" altLang="en-US" sz="1200" dirty="0" smtClean="0"/>
          </a:p>
          <a:p>
            <a:pPr lvl="1" eaLnBrk="1" hangingPunct="1"/>
            <a:r>
              <a:rPr lang="en-US" altLang="en-US" sz="1600" dirty="0" smtClean="0"/>
              <a:t>Integrity</a:t>
            </a:r>
          </a:p>
          <a:p>
            <a:pPr lvl="2"/>
            <a:r>
              <a:rPr lang="en-US" sz="1400" dirty="0" smtClean="0"/>
              <a:t>prevention </a:t>
            </a:r>
            <a:r>
              <a:rPr lang="en-US" sz="1400" dirty="0"/>
              <a:t>of the unauthorized modification or deletion of </a:t>
            </a:r>
            <a:r>
              <a:rPr lang="en-US" sz="1400" dirty="0" smtClean="0"/>
              <a:t>information</a:t>
            </a:r>
            <a:endParaRPr lang="en-US" altLang="en-US" sz="1200" dirty="0"/>
          </a:p>
          <a:p>
            <a:pPr lvl="1" eaLnBrk="1" hangingPunct="1"/>
            <a:r>
              <a:rPr lang="en-US" altLang="en-US" sz="1600" dirty="0"/>
              <a:t>Availability</a:t>
            </a:r>
          </a:p>
          <a:p>
            <a:pPr lvl="2"/>
            <a:r>
              <a:rPr lang="en-US" sz="1400" dirty="0"/>
              <a:t>prevention of the unauthorized withholding of information – e.g. </a:t>
            </a:r>
            <a:r>
              <a:rPr lang="en-US" sz="1400" dirty="0" err="1"/>
              <a:t>DoS</a:t>
            </a:r>
            <a:r>
              <a:rPr lang="en-US" sz="1400" dirty="0"/>
              <a:t> </a:t>
            </a:r>
            <a:r>
              <a:rPr lang="en-US" sz="1400" dirty="0" smtClean="0"/>
              <a:t>attack</a:t>
            </a:r>
            <a:endParaRPr lang="en-US" sz="1400" dirty="0"/>
          </a:p>
          <a:p>
            <a:r>
              <a:rPr lang="en-US" altLang="en-US" sz="1800" dirty="0"/>
              <a:t>Important </a:t>
            </a:r>
            <a:r>
              <a:rPr lang="en-US" altLang="en-US" sz="1800" dirty="0" smtClean="0"/>
              <a:t>aspects of </a:t>
            </a:r>
            <a:r>
              <a:rPr lang="en-US" altLang="en-US" sz="1800" dirty="0"/>
              <a:t>Security</a:t>
            </a:r>
          </a:p>
          <a:p>
            <a:pPr lvl="1"/>
            <a:r>
              <a:rPr lang="en-US" altLang="en-US" sz="1400" dirty="0"/>
              <a:t>Non repudiation</a:t>
            </a:r>
            <a:r>
              <a:rPr lang="en-US" altLang="en-US" sz="1400" dirty="0" smtClean="0"/>
              <a:t>: Y</a:t>
            </a:r>
            <a:r>
              <a:rPr lang="x-none" sz="1400" smtClean="0"/>
              <a:t>ou </a:t>
            </a:r>
            <a:r>
              <a:rPr lang="x-none" sz="1400"/>
              <a:t>cannot </a:t>
            </a:r>
            <a:r>
              <a:rPr lang="en-US" sz="1400" dirty="0"/>
              <a:t>deny </a:t>
            </a:r>
            <a:r>
              <a:rPr lang="x-none" sz="1400"/>
              <a:t>ordering something from the </a:t>
            </a:r>
            <a:r>
              <a:rPr lang="en-US" sz="1400" dirty="0"/>
              <a:t>I</a:t>
            </a:r>
            <a:r>
              <a:rPr lang="x-none" sz="1400"/>
              <a:t>nternet</a:t>
            </a:r>
            <a:r>
              <a:rPr lang="en-US" sz="1400" dirty="0"/>
              <a:t>, or </a:t>
            </a:r>
            <a:r>
              <a:rPr lang="x-none" sz="1400"/>
              <a:t>the merchant cannot </a:t>
            </a:r>
            <a:r>
              <a:rPr lang="en-US" sz="1400" dirty="0"/>
              <a:t>disclaim </a:t>
            </a:r>
            <a:r>
              <a:rPr lang="x-none" sz="1400"/>
              <a:t>getting your order</a:t>
            </a:r>
            <a:r>
              <a:rPr lang="x-none" sz="1400" smtClean="0"/>
              <a:t>.</a:t>
            </a:r>
            <a:endParaRPr lang="en-US" altLang="en-US" sz="1400" dirty="0"/>
          </a:p>
          <a:p>
            <a:pPr lvl="1"/>
            <a:r>
              <a:rPr lang="en-US" altLang="en-US" sz="1400" dirty="0"/>
              <a:t>Assurance:: </a:t>
            </a:r>
            <a:r>
              <a:rPr lang="en-US" altLang="en-US" sz="1400" dirty="0" smtClean="0"/>
              <a:t>Typically through authentication. E.g. if you get an email purporting to come from a bank, it is indeed from  a bank.</a:t>
            </a:r>
            <a:endParaRPr lang="en-US" altLang="en-US" sz="1400" dirty="0"/>
          </a:p>
          <a:p>
            <a:pPr lvl="1"/>
            <a:r>
              <a:rPr lang="en-US" altLang="en-US" sz="1400" dirty="0"/>
              <a:t>Auditing:: System tracks activities so that it can be reconstructed </a:t>
            </a:r>
            <a:r>
              <a:rPr lang="en-US" altLang="en-US" sz="1400" dirty="0" smtClean="0"/>
              <a:t>later</a:t>
            </a:r>
          </a:p>
          <a:p>
            <a:pPr lvl="1"/>
            <a:r>
              <a:rPr lang="x-none" sz="1400" smtClean="0"/>
              <a:t>Authorization</a:t>
            </a:r>
            <a:r>
              <a:rPr lang="en-US" sz="1400" dirty="0" smtClean="0"/>
              <a:t>::</a:t>
            </a:r>
            <a:r>
              <a:rPr lang="x-none" sz="1400" smtClean="0"/>
              <a:t> </a:t>
            </a:r>
            <a:r>
              <a:rPr lang="en-US" sz="1400" dirty="0" smtClean="0"/>
              <a:t>Grants </a:t>
            </a:r>
            <a:r>
              <a:rPr lang="x-none" sz="1400"/>
              <a:t>a user the privileges </a:t>
            </a:r>
            <a:r>
              <a:rPr lang="en-US" sz="1400" dirty="0" smtClean="0"/>
              <a:t>– </a:t>
            </a:r>
            <a:r>
              <a:rPr lang="en-US" sz="1400" dirty="0" err="1" smtClean="0"/>
              <a:t>E.g</a:t>
            </a:r>
            <a:r>
              <a:rPr lang="en-US" sz="1400" dirty="0" smtClean="0"/>
              <a:t> an </a:t>
            </a:r>
            <a:r>
              <a:rPr lang="en-US" sz="1400" dirty="0"/>
              <a:t>online banking system authorizes a legitimate user to access his account</a:t>
            </a:r>
            <a:r>
              <a:rPr lang="x-none" sz="1400"/>
              <a:t>.</a:t>
            </a:r>
            <a:endParaRPr lang="en-US" sz="1400" dirty="0"/>
          </a:p>
          <a:p>
            <a:pPr lvl="1"/>
            <a:endParaRPr lang="en-US" altLang="en-US" sz="1400" dirty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FB5B54C-45A6-41DE-A658-A6811F6E0671}" type="datetime1">
              <a:rPr lang="en-US" smtClean="0"/>
              <a:t>4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1844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curity Tactic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4ACC009-B711-47E8-8865-15991B4F3A5B}" type="datetime1">
              <a:rPr lang="en-US" smtClean="0"/>
              <a:t>4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  <p:graphicFrame>
        <p:nvGraphicFramePr>
          <p:cNvPr id="7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43270401"/>
              </p:ext>
            </p:extLst>
          </p:nvPr>
        </p:nvGraphicFramePr>
        <p:xfrm>
          <a:off x="304800" y="1371600"/>
          <a:ext cx="8382000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568341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Testability</a:t>
            </a:r>
            <a:endParaRPr lang="en-IN" altLang="en-US" dirty="0" smtClean="0"/>
          </a:p>
        </p:txBody>
      </p:sp>
      <p:sp>
        <p:nvSpPr>
          <p:cNvPr id="3481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sz="2400" dirty="0" smtClean="0"/>
              <a:t>The ease with which software can be made to demonstrate its faults through testing</a:t>
            </a:r>
          </a:p>
          <a:p>
            <a:pPr eaLnBrk="1" hangingPunct="1"/>
            <a:r>
              <a:rPr lang="en-US" sz="2400" dirty="0"/>
              <a:t>If a fault is present in a system, then we want it to fail during testing as quickly as possible</a:t>
            </a:r>
            <a:r>
              <a:rPr lang="en-US" sz="2400" dirty="0" smtClean="0"/>
              <a:t>.</a:t>
            </a:r>
            <a:endParaRPr lang="en-US" altLang="en-US" sz="2400" dirty="0" smtClean="0"/>
          </a:p>
          <a:p>
            <a:pPr eaLnBrk="1" hangingPunct="1"/>
            <a:r>
              <a:rPr lang="en-US" altLang="en-US" sz="2400" dirty="0" smtClean="0"/>
              <a:t>At least 40% effort goes for testing</a:t>
            </a:r>
          </a:p>
          <a:p>
            <a:pPr lvl="1" eaLnBrk="1" hangingPunct="1"/>
            <a:r>
              <a:rPr lang="en-US" altLang="en-US" sz="2000" dirty="0"/>
              <a:t>Done by developers, testers, and verifiers (tools</a:t>
            </a:r>
            <a:r>
              <a:rPr lang="en-US" altLang="en-US" sz="2000" dirty="0" smtClean="0"/>
              <a:t>)</a:t>
            </a:r>
          </a:p>
          <a:p>
            <a:pPr eaLnBrk="1" hangingPunct="1"/>
            <a:r>
              <a:rPr lang="en-US" altLang="en-US" sz="2400" dirty="0" smtClean="0"/>
              <a:t>Specialized software for testing</a:t>
            </a:r>
          </a:p>
          <a:p>
            <a:pPr lvl="1" eaLnBrk="1" hangingPunct="1"/>
            <a:r>
              <a:rPr lang="en-US" altLang="en-US" sz="2000" dirty="0" smtClean="0"/>
              <a:t>Test harness</a:t>
            </a:r>
          </a:p>
          <a:p>
            <a:pPr lvl="1" eaLnBrk="1" hangingPunct="1"/>
            <a:r>
              <a:rPr lang="en-US" altLang="en-US" sz="2000" dirty="0" smtClean="0"/>
              <a:t>Simple playback capability </a:t>
            </a:r>
          </a:p>
          <a:p>
            <a:pPr lvl="1" eaLnBrk="1" hangingPunct="1"/>
            <a:r>
              <a:rPr lang="en-US" altLang="en-US" sz="2000" dirty="0" smtClean="0"/>
              <a:t>Specialized testing chamber</a:t>
            </a:r>
          </a:p>
          <a:p>
            <a:pPr eaLnBrk="1" hangingPunct="1"/>
            <a:r>
              <a:rPr lang="en-US" sz="2400" dirty="0" smtClean="0"/>
              <a:t>Architect’s aim is to reduce </a:t>
            </a:r>
            <a:r>
              <a:rPr lang="en-US" sz="2400" dirty="0"/>
              <a:t>the high cost of testing when the software is modified</a:t>
            </a:r>
          </a:p>
          <a:p>
            <a:pPr eaLnBrk="1" hangingPunct="1"/>
            <a:endParaRPr lang="en-US" altLang="en-US" sz="280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329255-25FE-4775-BC61-C5F27BFCD53E}" type="datetime1">
              <a:rPr lang="en-US" smtClean="0"/>
              <a:t>4/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236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ability Tactic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3049777-C36F-44E1-905A-7EE7BFBDC0A1}" type="datetime1">
              <a:rPr lang="en-US" smtClean="0"/>
              <a:t>4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  <p:graphicFrame>
        <p:nvGraphicFramePr>
          <p:cNvPr id="7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42902047"/>
              </p:ext>
            </p:extLst>
          </p:nvPr>
        </p:nvGraphicFramePr>
        <p:xfrm>
          <a:off x="304800" y="1371600"/>
          <a:ext cx="83820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350588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Usability</a:t>
            </a:r>
            <a:endParaRPr lang="en-IN" altLang="en-US" smtClean="0"/>
          </a:p>
        </p:txBody>
      </p:sp>
      <p:sp>
        <p:nvSpPr>
          <p:cNvPr id="3686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dirty="0"/>
              <a:t>H</a:t>
            </a:r>
            <a:r>
              <a:rPr lang="en-US" altLang="en-US" dirty="0" smtClean="0"/>
              <a:t>ow easy it is for the user to accomplish a desired task and user support the system provides</a:t>
            </a:r>
          </a:p>
          <a:p>
            <a:pPr lvl="1" eaLnBrk="1" hangingPunct="1"/>
            <a:r>
              <a:rPr lang="en-US" altLang="en-US" dirty="0" smtClean="0"/>
              <a:t>Learnability: what does the system do to make a user familiar</a:t>
            </a:r>
          </a:p>
          <a:p>
            <a:pPr lvl="1" eaLnBrk="1" hangingPunct="1"/>
            <a:r>
              <a:rPr lang="en-US" altLang="en-US" dirty="0" smtClean="0"/>
              <a:t>Operability: </a:t>
            </a:r>
          </a:p>
          <a:p>
            <a:pPr lvl="2" eaLnBrk="1" hangingPunct="1"/>
            <a:r>
              <a:rPr lang="en-US" altLang="en-US" dirty="0" smtClean="0"/>
              <a:t>Minimizing the impact of user errors</a:t>
            </a:r>
          </a:p>
          <a:p>
            <a:pPr lvl="2" eaLnBrk="1" hangingPunct="1"/>
            <a:r>
              <a:rPr lang="en-US" altLang="en-US" dirty="0" smtClean="0"/>
              <a:t>Adopting to user needs</a:t>
            </a:r>
          </a:p>
          <a:p>
            <a:pPr lvl="2" eaLnBrk="1" hangingPunct="1"/>
            <a:r>
              <a:rPr lang="en-US" altLang="en-US" dirty="0" smtClean="0"/>
              <a:t>Giving confidence to the user that the correct action is being taken?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BC714E2-7535-4EAE-B26B-F79A0A9BE83F}" type="datetime1">
              <a:rPr lang="en-US" smtClean="0"/>
              <a:t>4/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065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ability Tactics</a:t>
            </a:r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35335827"/>
              </p:ext>
            </p:extLst>
          </p:nvPr>
        </p:nvGraphicFramePr>
        <p:xfrm>
          <a:off x="304800" y="1371600"/>
          <a:ext cx="8382000" cy="50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A8A2547-E2ED-45D0-B77F-2032EB73C32E}" type="datetime1">
              <a:rPr lang="en-US" smtClean="0"/>
              <a:t>4/5/20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0986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opera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8320" y="1371600"/>
            <a:ext cx="8839200" cy="5029200"/>
          </a:xfrm>
        </p:spPr>
        <p:txBody>
          <a:bodyPr/>
          <a:lstStyle/>
          <a:p>
            <a:r>
              <a:rPr lang="en-US" dirty="0" smtClean="0"/>
              <a:t>Ability that two systems can usefully exchange information through an interface</a:t>
            </a:r>
          </a:p>
          <a:p>
            <a:r>
              <a:rPr lang="en-US" dirty="0" smtClean="0"/>
              <a:t>Ability to transfer data and interpret data</a:t>
            </a:r>
          </a:p>
          <a:p>
            <a:r>
              <a:rPr lang="en-US" dirty="0" smtClean="0"/>
              <a:t>Information exchange can be direct or indirect</a:t>
            </a:r>
          </a:p>
          <a:p>
            <a:r>
              <a:rPr lang="en-US" dirty="0" smtClean="0"/>
              <a:t>Interface</a:t>
            </a:r>
          </a:p>
          <a:p>
            <a:pPr lvl="1"/>
            <a:r>
              <a:rPr lang="en-US" dirty="0" smtClean="0"/>
              <a:t>Beyond API</a:t>
            </a:r>
          </a:p>
          <a:p>
            <a:pPr lvl="1"/>
            <a:r>
              <a:rPr lang="en-US" dirty="0" smtClean="0"/>
              <a:t>Need to have a set of assumptions you can safely make about the entity exposing the API</a:t>
            </a:r>
          </a:p>
          <a:p>
            <a:r>
              <a:rPr lang="en-US" dirty="0" smtClean="0"/>
              <a:t>Example- you want to integrate with Google Map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6864B86-0D9F-421D-BF08-BC75BF975D9A}" type="datetime1">
              <a:rPr lang="en-US" smtClean="0"/>
              <a:t>4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24788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ctic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Interoperability</a:t>
            </a:r>
          </a:p>
          <a:p>
            <a:pPr lvl="1"/>
            <a:r>
              <a:rPr lang="en-US" sz="2400" dirty="0" smtClean="0"/>
              <a:t>Locate (Discover service)</a:t>
            </a:r>
          </a:p>
          <a:p>
            <a:pPr lvl="2"/>
            <a:r>
              <a:rPr lang="en-US" sz="2000" dirty="0" smtClean="0"/>
              <a:t>Identify the service through a known directory service. Here service implies a set of capabilities available through an interface</a:t>
            </a:r>
          </a:p>
          <a:p>
            <a:pPr lvl="2"/>
            <a:r>
              <a:rPr lang="en-US" sz="2000" dirty="0" smtClean="0"/>
              <a:t>By name, location or other attributes</a:t>
            </a:r>
          </a:p>
          <a:p>
            <a:pPr lvl="1"/>
            <a:r>
              <a:rPr lang="en-US" sz="2400" dirty="0" smtClean="0"/>
              <a:t>Manage interface</a:t>
            </a:r>
          </a:p>
          <a:p>
            <a:pPr lvl="2"/>
            <a:r>
              <a:rPr lang="en-US" sz="2000" dirty="0" smtClean="0"/>
              <a:t>Orchestrate</a:t>
            </a:r>
          </a:p>
          <a:p>
            <a:pPr lvl="3"/>
            <a:r>
              <a:rPr lang="en-US" sz="1800" dirty="0" smtClean="0"/>
              <a:t>Co-ordinate and manage a sequence of services. Example- workflow, which can be expressed in BPEL language</a:t>
            </a:r>
          </a:p>
          <a:p>
            <a:pPr lvl="2"/>
            <a:r>
              <a:rPr lang="en-US" sz="2000" dirty="0" smtClean="0"/>
              <a:t>Tailor interface</a:t>
            </a:r>
          </a:p>
          <a:p>
            <a:pPr lvl="3"/>
            <a:r>
              <a:rPr lang="en-US" sz="1800" dirty="0" smtClean="0"/>
              <a:t>Add or remove capability from an interface (hide a particular function from an untrusted user)</a:t>
            </a:r>
          </a:p>
          <a:p>
            <a:pPr lvl="3"/>
            <a:r>
              <a:rPr lang="en-US" sz="1800" dirty="0" smtClean="0"/>
              <a:t>Use Decorator pattern for this purpose</a:t>
            </a:r>
            <a:endParaRPr lang="en-US" sz="1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7A22CA9-8253-43CE-99DB-4B5A09F96E2A}" type="datetime1">
              <a:rPr lang="en-US" smtClean="0"/>
              <a:t>4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94492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2813" eaLnBrk="1" hangingPunct="1"/>
            <a:r>
              <a:rPr lang="en-US" altLang="en-US" smtClean="0"/>
              <a:t>Software Architecture Definition</a:t>
            </a:r>
            <a:endParaRPr lang="en-IN" altLang="en-US" smtClean="0"/>
          </a:p>
        </p:txBody>
      </p:sp>
      <p:sp>
        <p:nvSpPr>
          <p:cNvPr id="2560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912813" eaLnBrk="1" hangingPunct="1"/>
            <a:r>
              <a:rPr lang="en-US" altLang="en-US" sz="2800" dirty="0" smtClean="0"/>
              <a:t>No </a:t>
            </a:r>
            <a:r>
              <a:rPr lang="en-US" altLang="en-US" sz="2800" dirty="0"/>
              <a:t>unique </a:t>
            </a:r>
            <a:r>
              <a:rPr lang="en-US" altLang="en-US" sz="2800" dirty="0" smtClean="0"/>
              <a:t>definition though similar… </a:t>
            </a:r>
          </a:p>
          <a:p>
            <a:pPr lvl="1" defTabSz="912813" eaLnBrk="1" hangingPunct="1"/>
            <a:r>
              <a:rPr lang="en-US" altLang="en-US" sz="1400" dirty="0" smtClean="0"/>
              <a:t>(</a:t>
            </a:r>
            <a:r>
              <a:rPr lang="en-US" altLang="en-US" sz="1400" dirty="0"/>
              <a:t>look at </a:t>
            </a:r>
            <a:r>
              <a:rPr lang="en-US" altLang="en-US" sz="1400" dirty="0">
                <a:hlinkClick r:id="rId2"/>
              </a:rPr>
              <a:t>http://</a:t>
            </a:r>
            <a:r>
              <a:rPr lang="en-US" altLang="en-US" sz="1400" dirty="0" smtClean="0">
                <a:hlinkClick r:id="rId2"/>
              </a:rPr>
              <a:t>www.sei.cmu.edu/architecture/start/glossary/classicdefs.cfm</a:t>
            </a:r>
            <a:r>
              <a:rPr lang="en-US" altLang="en-US" sz="1400" dirty="0" smtClean="0"/>
              <a:t> )</a:t>
            </a:r>
            <a:endParaRPr lang="en-US" altLang="en-US" sz="1400" dirty="0"/>
          </a:p>
          <a:p>
            <a:pPr lvl="1" defTabSz="912813" eaLnBrk="1" hangingPunct="1"/>
            <a:r>
              <a:rPr lang="en-US" dirty="0"/>
              <a:t>Is a high level design</a:t>
            </a:r>
          </a:p>
          <a:p>
            <a:pPr lvl="1" defTabSz="912813" eaLnBrk="1" hangingPunct="1"/>
            <a:r>
              <a:rPr lang="en-US" dirty="0"/>
              <a:t>Is the overall structure of the system</a:t>
            </a:r>
          </a:p>
          <a:p>
            <a:pPr lvl="1" defTabSz="912813" eaLnBrk="1" hangingPunct="1"/>
            <a:r>
              <a:rPr lang="en-US" dirty="0"/>
              <a:t>Is the structure of the components of a program or system, their interrelationships, and the principles and guidelines governing their design and evolution over </a:t>
            </a:r>
            <a:r>
              <a:rPr lang="en-US" dirty="0" smtClean="0"/>
              <a:t>tim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BDC8162-C0FC-4B14-8425-301AD5E5098A}" type="datetime1">
              <a:rPr lang="en-US" smtClean="0"/>
              <a:t>4/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678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97180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Review </a:t>
            </a:r>
            <a:br>
              <a:rPr lang="en-US" dirty="0" smtClean="0">
                <a:solidFill>
                  <a:srgbClr val="FF0000"/>
                </a:solidFill>
              </a:rPr>
            </a:br>
            <a:r>
              <a:rPr lang="en-US" dirty="0" smtClean="0">
                <a:solidFill>
                  <a:srgbClr val="FF0000"/>
                </a:solidFill>
              </a:rPr>
              <a:t>OO Programming and Patter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8D1186D-3181-466E-AEE9-7B6829548502}" type="datetime1">
              <a:rPr lang="en-US" smtClean="0"/>
              <a:t>4/5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896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half" idx="1"/>
          </p:nvPr>
        </p:nvSpPr>
        <p:spPr>
          <a:xfrm>
            <a:off x="152400" y="1086512"/>
            <a:ext cx="4953000" cy="5257800"/>
          </a:xfrm>
        </p:spPr>
        <p:txBody>
          <a:bodyPr/>
          <a:lstStyle/>
          <a:p>
            <a:r>
              <a:rPr lang="en-US" sz="2800" dirty="0" smtClean="0"/>
              <a:t>Everything is an Object!</a:t>
            </a:r>
          </a:p>
          <a:p>
            <a:pPr lvl="1"/>
            <a:r>
              <a:rPr lang="en-US" sz="2400" dirty="0" smtClean="0"/>
              <a:t>Structure -- Data</a:t>
            </a:r>
          </a:p>
          <a:p>
            <a:pPr lvl="2"/>
            <a:r>
              <a:rPr lang="en-US" sz="2000" dirty="0" smtClean="0"/>
              <a:t>Means these are stored in memory and </a:t>
            </a:r>
          </a:p>
          <a:p>
            <a:pPr lvl="2"/>
            <a:r>
              <a:rPr lang="en-US" sz="2000" dirty="0" smtClean="0"/>
              <a:t>Is made of other objects</a:t>
            </a:r>
          </a:p>
          <a:p>
            <a:pPr lvl="1"/>
            <a:r>
              <a:rPr lang="en-US" sz="2400" dirty="0" smtClean="0"/>
              <a:t>Behavior--- Operations performed on this data</a:t>
            </a:r>
          </a:p>
          <a:p>
            <a:pPr lvl="1"/>
            <a:r>
              <a:rPr lang="en-US" altLang="en-US" sz="2400" dirty="0" smtClean="0"/>
              <a:t>Every </a:t>
            </a:r>
            <a:r>
              <a:rPr lang="en-US" altLang="en-US" sz="2400" dirty="0"/>
              <a:t>object has a </a:t>
            </a:r>
            <a:r>
              <a:rPr lang="en-US" altLang="en-US" sz="2400" dirty="0" smtClean="0"/>
              <a:t>type--- called class </a:t>
            </a:r>
            <a:endParaRPr lang="en-US" altLang="en-US" sz="2400" dirty="0"/>
          </a:p>
          <a:p>
            <a:pPr lvl="2"/>
            <a:r>
              <a:rPr lang="en-US" altLang="en-US" sz="2000" dirty="0"/>
              <a:t>All objects of the same type can receive the same messages</a:t>
            </a:r>
            <a:r>
              <a:rPr lang="en-US" altLang="en-US" sz="2000" dirty="0" smtClean="0"/>
              <a:t>.</a:t>
            </a:r>
          </a:p>
          <a:p>
            <a:pPr lvl="1"/>
            <a:r>
              <a:rPr lang="en-US" sz="2400" dirty="0"/>
              <a:t>Properties/Attribute </a:t>
            </a:r>
            <a:r>
              <a:rPr lang="en-US" sz="2400" dirty="0" smtClean="0"/>
              <a:t>values </a:t>
            </a:r>
            <a:r>
              <a:rPr lang="en-US" sz="2400" dirty="0"/>
              <a:t>at a particular moment during runtime is the object </a:t>
            </a:r>
            <a:r>
              <a:rPr lang="en-US" sz="2400" dirty="0" smtClean="0"/>
              <a:t>state</a:t>
            </a:r>
            <a:endParaRPr lang="en-US" altLang="en-US" dirty="0"/>
          </a:p>
          <a:p>
            <a:endParaRPr lang="en-US" sz="2800" dirty="0"/>
          </a:p>
        </p:txBody>
      </p:sp>
      <p:sp>
        <p:nvSpPr>
          <p:cNvPr id="2" name="Content Placeholder 1"/>
          <p:cNvSpPr>
            <a:spLocks noGrp="1"/>
          </p:cNvSpPr>
          <p:nvPr>
            <p:ph sz="half" idx="2"/>
          </p:nvPr>
        </p:nvSpPr>
        <p:spPr>
          <a:xfrm>
            <a:off x="5181600" y="1143000"/>
            <a:ext cx="3733800" cy="5257800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dirty="0"/>
              <a:t>Class represents an abstract, user-defined type</a:t>
            </a:r>
          </a:p>
          <a:p>
            <a:pPr lvl="1" eaLnBrk="1" hangingPunct="1">
              <a:lnSpc>
                <a:spcPct val="90000"/>
              </a:lnSpc>
            </a:pPr>
            <a:r>
              <a:rPr lang="en-US" dirty="0"/>
              <a:t>Structure – definition of properties</a:t>
            </a:r>
            <a:r>
              <a:rPr lang="en-US" dirty="0" smtClean="0"/>
              <a:t>/ attributes</a:t>
            </a:r>
            <a:endParaRPr lang="en-US" dirty="0"/>
          </a:p>
          <a:p>
            <a:pPr lvl="2" eaLnBrk="1" hangingPunct="1">
              <a:lnSpc>
                <a:spcPct val="90000"/>
              </a:lnSpc>
            </a:pPr>
            <a:r>
              <a:rPr lang="en-US" dirty="0"/>
              <a:t>Commonly known as member variables</a:t>
            </a:r>
          </a:p>
          <a:p>
            <a:pPr lvl="1" eaLnBrk="1" hangingPunct="1">
              <a:lnSpc>
                <a:spcPct val="90000"/>
              </a:lnSpc>
            </a:pPr>
            <a:r>
              <a:rPr lang="en-US" dirty="0"/>
              <a:t>Behavior – operation specification</a:t>
            </a:r>
          </a:p>
          <a:p>
            <a:pPr lvl="2" eaLnBrk="1" hangingPunct="1">
              <a:lnSpc>
                <a:spcPct val="90000"/>
              </a:lnSpc>
            </a:pPr>
            <a:r>
              <a:rPr lang="en-US" dirty="0"/>
              <a:t>Set of methods or member function </a:t>
            </a:r>
            <a:r>
              <a:rPr lang="en-US" dirty="0" smtClean="0"/>
              <a:t>definition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C0A7BA9-BDCD-4561-9214-2CA6ADE450C7}" type="datetime1">
              <a:rPr lang="en-US" smtClean="0"/>
              <a:t>4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/>
              <a:t>Second Semester </a:t>
            </a:r>
            <a:r>
              <a:rPr lang="en-US" dirty="0" smtClean="0"/>
              <a:t>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31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ject and Cla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564680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ule- aka namespace, packag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A set of classes grouped into a module</a:t>
            </a:r>
          </a:p>
          <a:p>
            <a:pPr lvl="1"/>
            <a:r>
              <a:rPr lang="en-US" sz="2400" dirty="0" smtClean="0"/>
              <a:t>A module is decomposed into sub-modules</a:t>
            </a:r>
          </a:p>
          <a:p>
            <a:pPr lvl="1"/>
            <a:r>
              <a:rPr lang="en-US" sz="2400" dirty="0" smtClean="0"/>
              <a:t>Containment hierarchy of modules – forms a tree</a:t>
            </a:r>
          </a:p>
          <a:p>
            <a:r>
              <a:rPr lang="en-US" sz="2800" dirty="0" smtClean="0"/>
              <a:t>A fully qualified, unique name= module+ name of the class</a:t>
            </a:r>
          </a:p>
          <a:p>
            <a:pPr lvl="1"/>
            <a:r>
              <a:rPr lang="en-US" sz="2400" dirty="0" smtClean="0"/>
              <a:t>namespace </a:t>
            </a:r>
          </a:p>
          <a:p>
            <a:pPr lvl="1"/>
            <a:r>
              <a:rPr lang="en-US" sz="2400" dirty="0"/>
              <a:t>p</a:t>
            </a:r>
            <a:r>
              <a:rPr lang="en-US" sz="2400" dirty="0" smtClean="0"/>
              <a:t>ackage</a:t>
            </a:r>
          </a:p>
          <a:p>
            <a:r>
              <a:rPr lang="en-US" sz="2800" dirty="0" smtClean="0"/>
              <a:t>Import- A class can selectively use one or more classes in a module or import the entire module</a:t>
            </a:r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70AD6B6-707D-49A5-9B5C-C9A5BB525BEC}" type="datetime1">
              <a:rPr lang="en-US" smtClean="0"/>
              <a:t>4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94604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herita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35120"/>
            <a:ext cx="8382000" cy="5029200"/>
          </a:xfrm>
        </p:spPr>
        <p:txBody>
          <a:bodyPr/>
          <a:lstStyle/>
          <a:p>
            <a:r>
              <a:rPr lang="en-US" altLang="en-US" sz="2800" dirty="0" smtClean="0"/>
              <a:t>Parent (called Base class) and children classes (</a:t>
            </a:r>
            <a:r>
              <a:rPr lang="en-US" altLang="en-US" sz="2800" dirty="0"/>
              <a:t>D</a:t>
            </a:r>
            <a:r>
              <a:rPr lang="en-US" altLang="en-US" sz="2800" dirty="0" smtClean="0"/>
              <a:t>erived classes)</a:t>
            </a:r>
          </a:p>
          <a:p>
            <a:pPr lvl="1"/>
            <a:r>
              <a:rPr lang="en-US" altLang="en-US" sz="2400" dirty="0" smtClean="0"/>
              <a:t>A Derived class inherits </a:t>
            </a:r>
            <a:r>
              <a:rPr lang="en-US" altLang="en-US" sz="2400" dirty="0"/>
              <a:t>the methods and </a:t>
            </a:r>
            <a:r>
              <a:rPr lang="en-US" altLang="en-US" sz="2400" dirty="0" smtClean="0"/>
              <a:t>member variables </a:t>
            </a:r>
            <a:r>
              <a:rPr lang="en-US" altLang="en-US" sz="2400" dirty="0"/>
              <a:t>of </a:t>
            </a:r>
            <a:r>
              <a:rPr lang="en-US" altLang="en-US" sz="2400" dirty="0" smtClean="0"/>
              <a:t>the Base -- also called ISA relationship</a:t>
            </a:r>
          </a:p>
          <a:p>
            <a:pPr lvl="1"/>
            <a:r>
              <a:rPr lang="en-US" altLang="en-US" sz="2400" dirty="0" smtClean="0"/>
              <a:t>A child can have multiple parents – Multiple inheritance</a:t>
            </a:r>
          </a:p>
          <a:p>
            <a:pPr lvl="1"/>
            <a:r>
              <a:rPr lang="en-US" altLang="en-US" sz="2400" dirty="0"/>
              <a:t>Hierarchy of inheritance (DAG</a:t>
            </a:r>
            <a:r>
              <a:rPr lang="en-US" altLang="en-US" sz="2400" dirty="0" smtClean="0"/>
              <a:t>)</a:t>
            </a:r>
          </a:p>
          <a:p>
            <a:endParaRPr lang="en-US" altLang="en-US" sz="2800" dirty="0" smtClean="0"/>
          </a:p>
          <a:p>
            <a:r>
              <a:rPr lang="en-US" altLang="en-US" sz="2800" dirty="0" smtClean="0"/>
              <a:t>The Derived class can</a:t>
            </a:r>
          </a:p>
          <a:p>
            <a:pPr lvl="1"/>
            <a:r>
              <a:rPr lang="en-US" altLang="en-US" sz="2400" dirty="0" smtClean="0"/>
              <a:t>Use the inherited variables and methods – reuse</a:t>
            </a:r>
          </a:p>
          <a:p>
            <a:pPr lvl="1"/>
            <a:r>
              <a:rPr lang="en-US" altLang="en-US" sz="2400" dirty="0" smtClean="0"/>
              <a:t>Add new methods – extends the functionality</a:t>
            </a:r>
          </a:p>
          <a:p>
            <a:pPr lvl="1"/>
            <a:r>
              <a:rPr lang="en-US" altLang="en-US" sz="2400" dirty="0" smtClean="0"/>
              <a:t>Modify derived method- called </a:t>
            </a:r>
            <a:r>
              <a:rPr lang="en-US" altLang="en-US" sz="2400" b="1" dirty="0" smtClean="0"/>
              <a:t>overriding</a:t>
            </a:r>
            <a:r>
              <a:rPr lang="en-US" altLang="en-US" sz="2400" dirty="0" smtClean="0"/>
              <a:t> </a:t>
            </a:r>
            <a:r>
              <a:rPr lang="en-US" altLang="en-US" sz="2400" dirty="0"/>
              <a:t>the base class member </a:t>
            </a:r>
            <a:r>
              <a:rPr lang="en-US" altLang="en-US" sz="2400" dirty="0" smtClean="0"/>
              <a:t>function</a:t>
            </a:r>
          </a:p>
          <a:p>
            <a:endParaRPr lang="en-US" alt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654551A-4095-4AA5-806E-4DFF9D7677B2}" type="datetime1">
              <a:rPr lang="en-US" smtClean="0"/>
              <a:t>4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872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face Defini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71600"/>
            <a:ext cx="8382000" cy="5029200"/>
          </a:xfrm>
        </p:spPr>
        <p:txBody>
          <a:bodyPr/>
          <a:lstStyle/>
          <a:p>
            <a:r>
              <a:rPr lang="en-US" sz="2400" dirty="0" smtClean="0"/>
              <a:t>An interface in C++, C# is a </a:t>
            </a:r>
            <a:r>
              <a:rPr lang="en-US" sz="2400" dirty="0"/>
              <a:t>class </a:t>
            </a:r>
            <a:r>
              <a:rPr lang="en-US" sz="2400" dirty="0" smtClean="0"/>
              <a:t>that has </a:t>
            </a:r>
            <a:r>
              <a:rPr lang="en-US" sz="2400" dirty="0"/>
              <a:t>at least one pure virtual </a:t>
            </a:r>
            <a:r>
              <a:rPr lang="en-US" sz="2400" dirty="0" smtClean="0"/>
              <a:t>method</a:t>
            </a:r>
          </a:p>
          <a:p>
            <a:pPr lvl="1"/>
            <a:r>
              <a:rPr lang="en-US" sz="2000" dirty="0"/>
              <a:t>A pure virtual method only has specification, but no body</a:t>
            </a:r>
          </a:p>
          <a:p>
            <a:pPr lvl="1"/>
            <a:r>
              <a:rPr lang="en-US" sz="2000" dirty="0" smtClean="0"/>
              <a:t>This is called abstract base class</a:t>
            </a:r>
          </a:p>
          <a:p>
            <a:pPr lvl="1"/>
            <a:r>
              <a:rPr lang="en-US" sz="2000" dirty="0" smtClean="0"/>
              <a:t>One </a:t>
            </a:r>
            <a:r>
              <a:rPr lang="en-US" sz="2000" dirty="0"/>
              <a:t>can have </a:t>
            </a:r>
            <a:r>
              <a:rPr lang="en-US" sz="2000" dirty="0" smtClean="0"/>
              <a:t>an abstract </a:t>
            </a:r>
            <a:r>
              <a:rPr lang="en-US" sz="2000" dirty="0"/>
              <a:t>class where some methods are concrete (with implementation) and some as pure virtual which could be </a:t>
            </a:r>
            <a:r>
              <a:rPr lang="en-US" sz="2000" dirty="0" smtClean="0"/>
              <a:t>clumsy</a:t>
            </a:r>
            <a:endParaRPr lang="en-US" sz="2400" dirty="0" smtClean="0"/>
          </a:p>
          <a:p>
            <a:endParaRPr lang="en-US" sz="2400" dirty="0" smtClean="0"/>
          </a:p>
          <a:p>
            <a:r>
              <a:rPr lang="en-US" sz="2400" dirty="0" smtClean="0"/>
              <a:t>Java </a:t>
            </a:r>
            <a:r>
              <a:rPr lang="en-US" sz="2400" dirty="0"/>
              <a:t>uses keyword “interface” and is more clean</a:t>
            </a:r>
          </a:p>
          <a:p>
            <a:pPr lvl="1"/>
            <a:r>
              <a:rPr lang="en-US" sz="2000" dirty="0"/>
              <a:t> </a:t>
            </a:r>
            <a:r>
              <a:rPr lang="en-US" sz="2000" dirty="0" smtClean="0"/>
              <a:t>Interface </a:t>
            </a:r>
            <a:r>
              <a:rPr lang="en-US" sz="2000" dirty="0"/>
              <a:t>only provides method declarations</a:t>
            </a:r>
          </a:p>
          <a:p>
            <a:endParaRPr lang="en-US" sz="2400" dirty="0" smtClean="0"/>
          </a:p>
          <a:p>
            <a:r>
              <a:rPr lang="en-US" sz="2400" dirty="0" smtClean="0"/>
              <a:t>Java </a:t>
            </a:r>
            <a:r>
              <a:rPr lang="en-US" sz="2400" dirty="0"/>
              <a:t>also allows to define an abstract </a:t>
            </a:r>
            <a:r>
              <a:rPr lang="en-US" sz="2400" dirty="0" smtClean="0"/>
              <a:t>base class </a:t>
            </a:r>
            <a:r>
              <a:rPr lang="en-US" sz="2400" dirty="0"/>
              <a:t>just like C++</a:t>
            </a:r>
          </a:p>
          <a:p>
            <a:pPr lvl="1"/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FF291-06CC-4DD9-AD7D-BFA707E8B40E}" type="slidenum">
              <a:rPr lang="en-US" altLang="en-US"/>
              <a:pPr/>
              <a:t>34</a:t>
            </a:fld>
            <a:endParaRPr lang="en-US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B9CD8B-0483-4B76-8156-B76F14573D6D}" type="datetime1">
              <a:rPr lang="en-US" smtClean="0"/>
              <a:t>4/5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349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n-US" sz="4000" smtClean="0"/>
              <a:t>Unified Modeling Language (Introduction)</a:t>
            </a:r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600200"/>
            <a:ext cx="8686800" cy="4525963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b="1" dirty="0" smtClean="0">
                <a:solidFill>
                  <a:schemeClr val="accent2"/>
                </a:solidFill>
              </a:rPr>
              <a:t>Modeling Language for specifying, Constructing, Visualizing and documenting software system and its components</a:t>
            </a:r>
          </a:p>
          <a:p>
            <a:pPr eaLnBrk="1" hangingPunct="1">
              <a:lnSpc>
                <a:spcPct val="90000"/>
              </a:lnSpc>
            </a:pPr>
            <a:r>
              <a:rPr lang="en-US" b="1" dirty="0" smtClean="0">
                <a:solidFill>
                  <a:schemeClr val="accent2"/>
                </a:solidFill>
              </a:rPr>
              <a:t>Model -&gt; Abstract Representation of the system [Simplified Representation of Reality]</a:t>
            </a:r>
          </a:p>
          <a:p>
            <a:pPr eaLnBrk="1" hangingPunct="1">
              <a:lnSpc>
                <a:spcPct val="90000"/>
              </a:lnSpc>
            </a:pPr>
            <a:r>
              <a:rPr lang="en-US" b="1" dirty="0" smtClean="0">
                <a:solidFill>
                  <a:schemeClr val="accent2"/>
                </a:solidFill>
              </a:rPr>
              <a:t>UML supports two types of models: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en-US" b="1" dirty="0" smtClean="0">
                <a:solidFill>
                  <a:schemeClr val="accent2"/>
                </a:solidFill>
              </a:rPr>
              <a:t>	-	Static			- Dynamic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114513F-4E19-44AD-9289-50CAA0FEAC68}" type="datetime1">
              <a:rPr lang="en-US" smtClean="0"/>
              <a:t>4/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9483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56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56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56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56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560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560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560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560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603" grpId="0" build="p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5" t="2987" r="6880" b="24510"/>
          <a:stretch/>
        </p:blipFill>
        <p:spPr>
          <a:xfrm>
            <a:off x="990600" y="2789270"/>
            <a:ext cx="5461686" cy="2929120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D7C6F72-F93B-447E-AC15-2E24B8F6A3C6}" type="datetime1">
              <a:rPr lang="en-US" smtClean="0"/>
              <a:t>4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6</a:t>
            </a:fld>
            <a:endParaRPr lang="en-US"/>
          </a:p>
        </p:txBody>
      </p:sp>
      <p:sp>
        <p:nvSpPr>
          <p:cNvPr id="9" name="Content Placeholder 4"/>
          <p:cNvSpPr txBox="1">
            <a:spLocks/>
          </p:cNvSpPr>
          <p:nvPr/>
        </p:nvSpPr>
        <p:spPr bwMode="auto">
          <a:xfrm>
            <a:off x="1523999" y="1219200"/>
            <a:ext cx="6400801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 smtClean="0"/>
              <a:t>Storefront has the main user interface in a Web front-end. Customers use the Storefront to place orders for pets</a:t>
            </a:r>
          </a:p>
          <a:p>
            <a:r>
              <a:rPr lang="en-US" sz="1400" dirty="0" smtClean="0"/>
              <a:t>Register User</a:t>
            </a:r>
          </a:p>
          <a:p>
            <a:r>
              <a:rPr lang="en-US" sz="1400" dirty="0" smtClean="0"/>
              <a:t>Login user</a:t>
            </a:r>
          </a:p>
          <a:p>
            <a:r>
              <a:rPr lang="en-US" sz="1400" dirty="0" smtClean="0"/>
              <a:t>Browse catalog of products</a:t>
            </a:r>
          </a:p>
          <a:p>
            <a:r>
              <a:rPr lang="en-US" sz="1400" dirty="0" smtClean="0"/>
              <a:t>Place order to OPC (asynchronous messaging)</a:t>
            </a:r>
          </a:p>
        </p:txBody>
      </p:sp>
      <p:sp>
        <p:nvSpPr>
          <p:cNvPr id="10" name="Rectangle 9"/>
          <p:cNvSpPr/>
          <p:nvPr/>
        </p:nvSpPr>
        <p:spPr>
          <a:xfrm>
            <a:off x="6184604" y="3657600"/>
            <a:ext cx="2819400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Order Processing Center (OPC) receives orders from the Storefront.</a:t>
            </a:r>
          </a:p>
          <a:p>
            <a:endParaRPr lang="en-US" sz="1400" dirty="0" smtClean="0"/>
          </a:p>
          <a:p>
            <a:r>
              <a:rPr lang="en-US" sz="1400" dirty="0" smtClean="0"/>
              <a:t>Administrator </a:t>
            </a:r>
            <a:endParaRPr lang="en-US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Examine pending order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Approve or deny a pending </a:t>
            </a:r>
            <a:r>
              <a:rPr lang="en-US" sz="1200" dirty="0" smtClean="0"/>
              <a:t>order</a:t>
            </a:r>
            <a:endParaRPr lang="en-US" sz="1050" dirty="0"/>
          </a:p>
          <a:p>
            <a:endParaRPr lang="en-US" sz="1200" dirty="0"/>
          </a:p>
        </p:txBody>
      </p:sp>
      <p:sp>
        <p:nvSpPr>
          <p:cNvPr id="11" name="Rectangle 10"/>
          <p:cNvSpPr/>
          <p:nvPr/>
        </p:nvSpPr>
        <p:spPr>
          <a:xfrm>
            <a:off x="1146544" y="5562600"/>
            <a:ext cx="60198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Suppli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iew and edit the invento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Fulfills orders from the OPC from inventory and invoices the OPC.</a:t>
            </a:r>
          </a:p>
        </p:txBody>
      </p:sp>
    </p:spTree>
    <p:extLst>
      <p:ext uri="{BB962C8B-B14F-4D97-AF65-F5344CB8AC3E}">
        <p14:creationId xmlns:p14="http://schemas.microsoft.com/office/powerpoint/2010/main" val="777895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 descr="E:\workspace\ClassDiagram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1265466"/>
            <a:ext cx="6312950" cy="4247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Class Notation</a:t>
            </a:r>
          </a:p>
        </p:txBody>
      </p:sp>
      <p:sp>
        <p:nvSpPr>
          <p:cNvPr id="2" name="Line Callout 1 (No Border) 1"/>
          <p:cNvSpPr/>
          <p:nvPr/>
        </p:nvSpPr>
        <p:spPr>
          <a:xfrm>
            <a:off x="7651893" y="1205757"/>
            <a:ext cx="1283750" cy="612648"/>
          </a:xfrm>
          <a:prstGeom prst="callout1">
            <a:avLst>
              <a:gd name="adj1" fmla="val 58848"/>
              <a:gd name="adj2" fmla="val 6592"/>
              <a:gd name="adj3" fmla="val 69856"/>
              <a:gd name="adj4" fmla="val -56423"/>
            </a:avLst>
          </a:prstGeom>
          <a:solidFill>
            <a:schemeClr val="bg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lass nam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Line Callout 1 (No Border) 12"/>
          <p:cNvSpPr/>
          <p:nvPr/>
        </p:nvSpPr>
        <p:spPr>
          <a:xfrm>
            <a:off x="7391400" y="3344510"/>
            <a:ext cx="1283750" cy="433362"/>
          </a:xfrm>
          <a:prstGeom prst="callout1">
            <a:avLst>
              <a:gd name="adj1" fmla="val -8136"/>
              <a:gd name="adj2" fmla="val 42772"/>
              <a:gd name="adj3" fmla="val -262514"/>
              <a:gd name="adj4" fmla="val -56490"/>
            </a:avLst>
          </a:prstGeom>
          <a:solidFill>
            <a:schemeClr val="bg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ttribute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Line Callout 1 (No Border) 13"/>
          <p:cNvSpPr/>
          <p:nvPr/>
        </p:nvSpPr>
        <p:spPr>
          <a:xfrm>
            <a:off x="54429" y="2755648"/>
            <a:ext cx="1283750" cy="433362"/>
          </a:xfrm>
          <a:prstGeom prst="callout1">
            <a:avLst>
              <a:gd name="adj1" fmla="val 48801"/>
              <a:gd name="adj2" fmla="val 94780"/>
              <a:gd name="adj3" fmla="val 81906"/>
              <a:gd name="adj4" fmla="val 146312"/>
            </a:avLst>
          </a:prstGeom>
          <a:solidFill>
            <a:schemeClr val="bg2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operation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" name="Text Box 13"/>
          <p:cNvSpPr txBox="1">
            <a:spLocks noChangeArrowheads="1"/>
          </p:cNvSpPr>
          <p:nvPr/>
        </p:nvSpPr>
        <p:spPr bwMode="auto">
          <a:xfrm>
            <a:off x="0" y="5562600"/>
            <a:ext cx="91440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b="1" dirty="0"/>
              <a:t>Visibility Modes : Private( - ), 	Protected (#) ,	Public (+) and </a:t>
            </a:r>
            <a:r>
              <a:rPr lang="en-US" sz="2000" b="1" dirty="0" smtClean="0"/>
              <a:t> Package </a:t>
            </a:r>
            <a:r>
              <a:rPr lang="en-US" sz="2000" b="1" dirty="0"/>
              <a:t>Private()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059E88E-EF30-436D-9679-0F4E25249837}" type="datetime1">
              <a:rPr lang="en-US" smtClean="0"/>
              <a:t>4/5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026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 descr="E:\workspace\ClassDiagram2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19" b="5711"/>
          <a:stretch/>
        </p:blipFill>
        <p:spPr bwMode="auto">
          <a:xfrm>
            <a:off x="-10886" y="1276550"/>
            <a:ext cx="9102328" cy="4286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2F36C2C-563F-4543-9EF5-BBC9A24B6799}" type="datetime1">
              <a:rPr lang="en-US" smtClean="0"/>
              <a:t>4/5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ass Relationships</a:t>
            </a:r>
            <a:endParaRPr lang="en-US" dirty="0"/>
          </a:p>
        </p:txBody>
      </p:sp>
      <p:sp>
        <p:nvSpPr>
          <p:cNvPr id="11" name="Line Callout 1 (No Border) 10"/>
          <p:cNvSpPr/>
          <p:nvPr/>
        </p:nvSpPr>
        <p:spPr>
          <a:xfrm>
            <a:off x="137886" y="1463749"/>
            <a:ext cx="1283750" cy="433362"/>
          </a:xfrm>
          <a:prstGeom prst="callout1">
            <a:avLst>
              <a:gd name="adj1" fmla="val 106138"/>
              <a:gd name="adj2" fmla="val 46839"/>
              <a:gd name="adj3" fmla="val 386985"/>
              <a:gd name="adj4" fmla="val 74610"/>
            </a:avLst>
          </a:prstGeom>
          <a:solidFill>
            <a:srgbClr val="7030A0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Inheritanc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Line Callout 1 (No Border) 11"/>
          <p:cNvSpPr/>
          <p:nvPr/>
        </p:nvSpPr>
        <p:spPr>
          <a:xfrm>
            <a:off x="5257800" y="1447800"/>
            <a:ext cx="1447800" cy="433362"/>
          </a:xfrm>
          <a:prstGeom prst="callout1">
            <a:avLst>
              <a:gd name="adj1" fmla="val 89392"/>
              <a:gd name="adj2" fmla="val 28041"/>
              <a:gd name="adj3" fmla="val 228822"/>
              <a:gd name="adj4" fmla="val -5856"/>
            </a:avLst>
          </a:prstGeom>
          <a:solidFill>
            <a:srgbClr val="7030A0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Composit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Line Callout 1 (No Border) 12"/>
          <p:cNvSpPr/>
          <p:nvPr/>
        </p:nvSpPr>
        <p:spPr>
          <a:xfrm>
            <a:off x="5791200" y="3798081"/>
            <a:ext cx="1447800" cy="433362"/>
          </a:xfrm>
          <a:prstGeom prst="callout1">
            <a:avLst>
              <a:gd name="adj1" fmla="val 35804"/>
              <a:gd name="adj2" fmla="val 98217"/>
              <a:gd name="adj3" fmla="val -2275"/>
              <a:gd name="adj4" fmla="val 172589"/>
            </a:avLst>
          </a:prstGeom>
          <a:solidFill>
            <a:srgbClr val="7030A0"/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Association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075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fferent forms of associ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 smtClean="0"/>
              <a:t>Strongest (Composition)</a:t>
            </a:r>
          </a:p>
          <a:p>
            <a:pPr marL="914400" lvl="1" indent="-514350"/>
            <a:r>
              <a:rPr lang="en-US" dirty="0" smtClean="0"/>
              <a:t>Implies total ownership, if the owner is destroyed, the parts are also destroyed</a:t>
            </a:r>
          </a:p>
          <a:p>
            <a:pPr marL="914400" lvl="1" indent="-514350"/>
            <a:r>
              <a:rPr lang="en-US" dirty="0" smtClean="0"/>
              <a:t>Inner classes will certainly be a composition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Aggregation</a:t>
            </a:r>
          </a:p>
          <a:p>
            <a:pPr marL="914400" lvl="1" indent="-514350"/>
            <a:r>
              <a:rPr lang="en-US" dirty="0" smtClean="0"/>
              <a:t>Implies has-a part ownership</a:t>
            </a:r>
          </a:p>
          <a:p>
            <a:pPr marL="914400" lvl="1" indent="-514350"/>
            <a:r>
              <a:rPr lang="en-US" dirty="0" smtClean="0"/>
              <a:t>If the owner is destroyed, the parts still exist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Weakest (Association)</a:t>
            </a:r>
          </a:p>
          <a:p>
            <a:pPr marL="914400" lvl="1" indent="-514350"/>
            <a:r>
              <a:rPr lang="en-US" dirty="0" smtClean="0"/>
              <a:t>General form of dependency based on the usage of feature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7D2F496-0546-4491-AEF7-D8A831120123}" type="datetime1">
              <a:rPr lang="en-US" smtClean="0"/>
              <a:t>4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75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2813" eaLnBrk="1" hangingPunct="1"/>
            <a:r>
              <a:rPr lang="en-US" altLang="en-US" dirty="0" smtClean="0"/>
              <a:t>Architecture Styles</a:t>
            </a:r>
            <a:endParaRPr lang="en-IN" altLang="en-US" dirty="0" smtClean="0"/>
          </a:p>
        </p:txBody>
      </p:sp>
      <p:sp>
        <p:nvSpPr>
          <p:cNvPr id="3584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4267200" cy="5029200"/>
          </a:xfrm>
        </p:spPr>
        <p:txBody>
          <a:bodyPr/>
          <a:lstStyle/>
          <a:p>
            <a:pPr marL="0" indent="0" defTabSz="912813" eaLnBrk="1" hangingPunct="1">
              <a:buNone/>
            </a:pPr>
            <a:r>
              <a:rPr lang="en-US" altLang="en-US" sz="1800" dirty="0" smtClean="0"/>
              <a:t>Architecture style– synonymous to “architecture pattern”</a:t>
            </a:r>
          </a:p>
          <a:p>
            <a:pPr defTabSz="912813" eaLnBrk="1" hangingPunct="1"/>
            <a:r>
              <a:rPr lang="en-US" altLang="en-US" sz="1600" dirty="0" smtClean="0"/>
              <a:t>A set of element types (data store, compute linear regression function)</a:t>
            </a:r>
          </a:p>
          <a:p>
            <a:pPr defTabSz="912813" eaLnBrk="1" hangingPunct="1"/>
            <a:r>
              <a:rPr lang="en-US" altLang="en-US" sz="1600" dirty="0" smtClean="0"/>
              <a:t>A set of interaction types (function call, publish-subscribe)</a:t>
            </a:r>
          </a:p>
          <a:p>
            <a:pPr defTabSz="912813" eaLnBrk="1" hangingPunct="1"/>
            <a:r>
              <a:rPr lang="en-US" altLang="en-US" sz="1600" dirty="0" smtClean="0"/>
              <a:t>Topology indicating interactions and interaction types</a:t>
            </a:r>
          </a:p>
          <a:p>
            <a:pPr defTabSz="912813" eaLnBrk="1" hangingPunct="1"/>
            <a:r>
              <a:rPr lang="en-US" altLang="en-US" sz="1600" dirty="0" smtClean="0"/>
              <a:t>Constraints</a:t>
            </a:r>
            <a:endParaRPr lang="en-US" altLang="en-US" sz="1800" dirty="0" smtClean="0"/>
          </a:p>
          <a:p>
            <a:pPr marL="0" indent="0" defTabSz="912813" eaLnBrk="1" hangingPunct="1">
              <a:buNone/>
            </a:pPr>
            <a:r>
              <a:rPr lang="en-US" altLang="en-US" sz="1800" dirty="0"/>
              <a:t>R</a:t>
            </a:r>
            <a:r>
              <a:rPr lang="en-US" altLang="en-US" sz="1800" dirty="0" smtClean="0"/>
              <a:t>eference </a:t>
            </a:r>
            <a:r>
              <a:rPr lang="en-US" altLang="en-US" sz="1800" dirty="0"/>
              <a:t>model </a:t>
            </a:r>
          </a:p>
          <a:p>
            <a:pPr defTabSz="912813" eaLnBrk="1" hangingPunct="1"/>
            <a:r>
              <a:rPr lang="en-US" altLang="en-US" sz="1600" dirty="0"/>
              <a:t>Decomposes the functionality into a set of smaller units</a:t>
            </a:r>
          </a:p>
          <a:p>
            <a:pPr defTabSz="912813" eaLnBrk="1" hangingPunct="1"/>
            <a:r>
              <a:rPr lang="en-US" altLang="en-US" sz="1600" dirty="0"/>
              <a:t>How they interact and share data</a:t>
            </a:r>
          </a:p>
          <a:p>
            <a:pPr marL="0" indent="0" defTabSz="912813" eaLnBrk="1" hangingPunct="1">
              <a:buNone/>
            </a:pPr>
            <a:r>
              <a:rPr lang="en-US" altLang="en-US" sz="1800" dirty="0" smtClean="0"/>
              <a:t>Reference architecture of a reference model</a:t>
            </a:r>
            <a:endParaRPr lang="en-US" altLang="en-US" sz="1800" dirty="0"/>
          </a:p>
          <a:p>
            <a:pPr defTabSz="912813" eaLnBrk="1" hangingPunct="1"/>
            <a:r>
              <a:rPr lang="en-US" altLang="en-US" sz="1600" dirty="0"/>
              <a:t>Concrete software elements, mapped to the units of the reference model, that implement the functionality</a:t>
            </a:r>
            <a:endParaRPr lang="en-IN" sz="1600" dirty="0"/>
          </a:p>
          <a:p>
            <a:pPr lvl="1" defTabSz="912813" eaLnBrk="1" hangingPunct="1"/>
            <a:endParaRPr lang="en-US" altLang="en-US" sz="1800" dirty="0"/>
          </a:p>
          <a:p>
            <a:pPr lvl="1" defTabSz="912813" eaLnBrk="1" hangingPunct="1"/>
            <a:endParaRPr lang="en-US" altLang="en-US" sz="160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484CAC7-E604-4397-A337-433D250B8A7B}" type="datetime1">
              <a:rPr lang="en-US" smtClean="0"/>
              <a:t>4/5/2015</a:t>
            </a:fld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grpSp>
        <p:nvGrpSpPr>
          <p:cNvPr id="7" name="Group 6"/>
          <p:cNvGrpSpPr/>
          <p:nvPr/>
        </p:nvGrpSpPr>
        <p:grpSpPr>
          <a:xfrm>
            <a:off x="3564218" y="3171733"/>
            <a:ext cx="5538838" cy="1802957"/>
            <a:chOff x="533400" y="1530787"/>
            <a:chExt cx="7215238" cy="2660213"/>
          </a:xfrm>
        </p:grpSpPr>
        <p:sp>
          <p:nvSpPr>
            <p:cNvPr id="8" name="Oval 7"/>
            <p:cNvSpPr/>
            <p:nvPr/>
          </p:nvSpPr>
          <p:spPr>
            <a:xfrm>
              <a:off x="533400" y="1547793"/>
              <a:ext cx="2167232" cy="1143009"/>
            </a:xfrm>
            <a:prstGeom prst="ellipse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b="1" dirty="0">
                  <a:ln w="10541" cmpd="sng">
                    <a:solidFill>
                      <a:schemeClr val="accent1">
                        <a:shade val="88000"/>
                        <a:satMod val="110000"/>
                      </a:schemeClr>
                    </a:solidFill>
                    <a:prstDash val="solid"/>
                  </a:ln>
                  <a:gradFill>
                    <a:gsLst>
                      <a:gs pos="0">
                        <a:schemeClr val="accent1">
                          <a:tint val="40000"/>
                          <a:satMod val="250000"/>
                        </a:schemeClr>
                      </a:gs>
                      <a:gs pos="9000">
                        <a:schemeClr val="accent1">
                          <a:tint val="52000"/>
                          <a:satMod val="300000"/>
                        </a:schemeClr>
                      </a:gs>
                      <a:gs pos="50000">
                        <a:schemeClr val="accent1">
                          <a:shade val="20000"/>
                          <a:satMod val="300000"/>
                        </a:schemeClr>
                      </a:gs>
                      <a:gs pos="79000">
                        <a:schemeClr val="accent1">
                          <a:tint val="52000"/>
                          <a:satMod val="300000"/>
                        </a:schemeClr>
                      </a:gs>
                      <a:gs pos="100000">
                        <a:schemeClr val="accent1">
                          <a:tint val="40000"/>
                          <a:satMod val="250000"/>
                        </a:schemeClr>
                      </a:gs>
                    </a:gsLst>
                    <a:lin ang="5400000"/>
                  </a:gradFill>
                </a:rPr>
                <a:t>Reference Model</a:t>
              </a:r>
              <a:endParaRPr lang="en-IN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04838" y="3119429"/>
              <a:ext cx="2095794" cy="1071571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b="1" dirty="0">
                  <a:ln w="1905"/>
                  <a:gradFill>
                    <a:gsLst>
                      <a:gs pos="0">
                        <a:schemeClr val="accent6">
                          <a:shade val="20000"/>
                          <a:satMod val="200000"/>
                        </a:schemeClr>
                      </a:gs>
                      <a:gs pos="78000">
                        <a:schemeClr val="accent6">
                          <a:tint val="90000"/>
                          <a:shade val="89000"/>
                          <a:satMod val="220000"/>
                        </a:schemeClr>
                      </a:gs>
                      <a:gs pos="100000">
                        <a:schemeClr val="accent6">
                          <a:tint val="12000"/>
                          <a:satMod val="255000"/>
                        </a:schemeClr>
                      </a:gs>
                    </a:gsLst>
                    <a:lin ang="5400000"/>
                  </a:gra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rPr>
                <a:t>Architectural Pattern</a:t>
              </a:r>
              <a:endParaRPr lang="en-IN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3248042" y="2262174"/>
              <a:ext cx="2248503" cy="107157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b="1" cap="all" dirty="0">
                  <a:ln w="9000" cmpd="sng">
                    <a:solidFill>
                      <a:schemeClr val="accent4">
                        <a:shade val="50000"/>
                        <a:satMod val="120000"/>
                      </a:schemeClr>
                    </a:solidFill>
                    <a:prstDash val="solid"/>
                  </a:ln>
                  <a:gradFill>
                    <a:gsLst>
                      <a:gs pos="0">
                        <a:schemeClr val="accent4">
                          <a:shade val="20000"/>
                          <a:satMod val="245000"/>
                        </a:schemeClr>
                      </a:gs>
                      <a:gs pos="43000">
                        <a:schemeClr val="accent4">
                          <a:satMod val="255000"/>
                        </a:schemeClr>
                      </a:gs>
                      <a:gs pos="48000">
                        <a:schemeClr val="accent4">
                          <a:shade val="85000"/>
                          <a:satMod val="255000"/>
                        </a:schemeClr>
                      </a:gs>
                      <a:gs pos="100000">
                        <a:schemeClr val="accent4">
                          <a:shade val="20000"/>
                          <a:satMod val="245000"/>
                        </a:schemeClr>
                      </a:gs>
                    </a:gsLst>
                    <a:lin ang="5400000"/>
                  </a:gradFill>
                  <a:effectLst>
                    <a:reflection blurRad="12700" stA="28000" endPos="45000" dist="1000" dir="5400000" sy="-100000" algn="bl" rotWithShape="0"/>
                  </a:effectLst>
                </a:rPr>
                <a:t>Reference Architecture</a:t>
              </a:r>
              <a:endParaRPr lang="en-IN" b="1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962688" y="2262174"/>
              <a:ext cx="1785950" cy="1071570"/>
            </a:xfrm>
            <a:prstGeom prst="rect">
              <a:avLst/>
            </a:prstGeom>
            <a:effectLst>
              <a:innerShdw blurRad="63500" dist="50800" dir="10800000">
                <a:prstClr val="black">
                  <a:alpha val="50000"/>
                </a:prstClr>
              </a:innerShdw>
            </a:effectLst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rPr>
                <a:t>Software Architecture</a:t>
              </a:r>
              <a:endParaRPr lang="en-IN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  <p:cxnSp>
          <p:nvCxnSpPr>
            <p:cNvPr id="12" name="Straight Arrow Connector 11"/>
            <p:cNvCxnSpPr>
              <a:stCxn id="8" idx="6"/>
              <a:endCxn id="10" idx="1"/>
            </p:cNvCxnSpPr>
            <p:nvPr/>
          </p:nvCxnSpPr>
          <p:spPr>
            <a:xfrm>
              <a:off x="2700632" y="2119298"/>
              <a:ext cx="547410" cy="678661"/>
            </a:xfrm>
            <a:prstGeom prst="straightConnector1">
              <a:avLst/>
            </a:prstGeom>
            <a:ln w="2540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>
              <a:stCxn id="9" idx="3"/>
              <a:endCxn id="10" idx="1"/>
            </p:cNvCxnSpPr>
            <p:nvPr/>
          </p:nvCxnSpPr>
          <p:spPr>
            <a:xfrm flipV="1">
              <a:off x="2700632" y="2797959"/>
              <a:ext cx="547410" cy="857255"/>
            </a:xfrm>
            <a:prstGeom prst="straightConnector1">
              <a:avLst/>
            </a:prstGeom>
            <a:ln w="2540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>
              <a:stCxn id="10" idx="3"/>
              <a:endCxn id="11" idx="1"/>
            </p:cNvCxnSpPr>
            <p:nvPr/>
          </p:nvCxnSpPr>
          <p:spPr>
            <a:xfrm>
              <a:off x="5496545" y="2797959"/>
              <a:ext cx="466142" cy="0"/>
            </a:xfrm>
            <a:prstGeom prst="straightConnector1">
              <a:avLst/>
            </a:prstGeom>
            <a:ln w="25400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5" name="Rectangle 14"/>
            <p:cNvSpPr/>
            <p:nvPr/>
          </p:nvSpPr>
          <p:spPr>
            <a:xfrm rot="958634">
              <a:off x="6667985" y="1615843"/>
              <a:ext cx="691389" cy="646331"/>
            </a:xfrm>
            <a:prstGeom prst="rect">
              <a:avLst/>
            </a:prstGeom>
          </p:spPr>
          <p:txBody>
            <a:bodyPr wrap="square">
              <a:spAutoFit/>
              <a:scene3d>
                <a:camera prst="orthographicFront"/>
                <a:lightRig rig="flat" dir="tl">
                  <a:rot lat="0" lon="0" rev="6600000"/>
                </a:lightRig>
              </a:scene3d>
              <a:sp3d extrusionH="25400" contourW="8890">
                <a:bevelT w="38100" h="31750"/>
                <a:contourClr>
                  <a:schemeClr val="accent2">
                    <a:shade val="75000"/>
                  </a:schemeClr>
                </a:contourClr>
              </a:sp3d>
            </a:bodyPr>
            <a:lstStyle/>
            <a:p>
              <a:r>
                <a:rPr lang="en-US" altLang="en-US" sz="3600" b="1" dirty="0">
                  <a:ln w="11430"/>
                  <a:gradFill>
                    <a:gsLst>
                      <a:gs pos="0">
                        <a:schemeClr val="accent2">
                          <a:tint val="70000"/>
                          <a:satMod val="245000"/>
                        </a:schemeClr>
                      </a:gs>
                      <a:gs pos="75000">
                        <a:schemeClr val="accent2">
                          <a:tint val="90000"/>
                          <a:shade val="60000"/>
                          <a:satMod val="240000"/>
                        </a:schemeClr>
                      </a:gs>
                      <a:gs pos="100000">
                        <a:schemeClr val="accent2">
                          <a:tint val="100000"/>
                          <a:shade val="50000"/>
                          <a:satMod val="240000"/>
                        </a:schemeClr>
                      </a:gs>
                    </a:gsLst>
                    <a:lin ang="5400000"/>
                  </a:gra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√</a:t>
              </a:r>
              <a:endParaRPr lang="en-US" sz="36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316525" y="1530787"/>
              <a:ext cx="458780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3200" b="1" dirty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</a:rPr>
                <a:t>X</a:t>
              </a:r>
              <a:endParaRPr lang="en-US" sz="32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471243" y="3594125"/>
              <a:ext cx="458780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3200" b="1" dirty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</a:rPr>
                <a:t>X</a:t>
              </a:r>
              <a:endParaRPr lang="en-US" sz="32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911629" y="1646620"/>
              <a:ext cx="458780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3200" b="1" dirty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</a:rPr>
                <a:t>X</a:t>
              </a:r>
              <a:endParaRPr lang="en-US" sz="32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6435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 descr="E:\workspace\SeqDiag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11" r="22557" b="14911"/>
          <a:stretch/>
        </p:blipFill>
        <p:spPr bwMode="auto">
          <a:xfrm>
            <a:off x="762000" y="1371600"/>
            <a:ext cx="7768326" cy="5105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quence Diagra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74" y="5617534"/>
            <a:ext cx="7726326" cy="8382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 smtClean="0"/>
              <a:t>Sequence diagram is drawn to represent (</a:t>
            </a:r>
            <a:r>
              <a:rPr lang="en-US" sz="2000" dirty="0" err="1" smtClean="0"/>
              <a:t>i</a:t>
            </a:r>
            <a:r>
              <a:rPr lang="en-US" sz="2000" dirty="0" smtClean="0"/>
              <a:t>) objects participating in an interaction and (ii) what messages have exchanged among those object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FFF59C7-1839-40FA-9828-EA9B762DB9EF}" type="datetime1">
              <a:rPr lang="en-US" smtClean="0"/>
              <a:t>4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1704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It is a physical (electronic) card</a:t>
            </a:r>
          </a:p>
          <a:p>
            <a:r>
              <a:rPr lang="en-US" dirty="0" smtClean="0"/>
              <a:t>One card for one class</a:t>
            </a:r>
          </a:p>
          <a:p>
            <a:pPr lvl="1"/>
            <a:r>
              <a:rPr lang="en-US" dirty="0" smtClean="0"/>
              <a:t>Indicates the responsibilities of a class</a:t>
            </a:r>
          </a:p>
          <a:p>
            <a:r>
              <a:rPr lang="en-US" dirty="0" smtClean="0"/>
              <a:t>Collaboration</a:t>
            </a:r>
          </a:p>
          <a:p>
            <a:pPr lvl="1"/>
            <a:r>
              <a:rPr lang="en-US" dirty="0" smtClean="0"/>
              <a:t>Sometimes a class can fulfill all its assigned responsibilities on its own</a:t>
            </a:r>
          </a:p>
          <a:p>
            <a:pPr lvl="1"/>
            <a:r>
              <a:rPr lang="en-US" dirty="0" smtClean="0"/>
              <a:t>But sometimes, it needs to collaborate with other classes in order to fulfill its own responsibilitie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Why?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</a:t>
            </a:r>
            <a:r>
              <a:rPr lang="en-US" dirty="0" smtClean="0"/>
              <a:t> </a:t>
            </a:r>
            <a:r>
              <a:rPr lang="en-US" dirty="0"/>
              <a:t>good technique to identify a class and its responsibility during functional architecture desig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ly collaborative and interactive </a:t>
            </a:r>
            <a:r>
              <a:rPr lang="en-US" dirty="0" smtClean="0"/>
              <a:t>process for a team of design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team can do it fast</a:t>
            </a:r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lass Responsibilities and Collaborators (CRC) Card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A5C61F-34BC-4430-B4C4-05B25A00CAD6}" type="datetime1">
              <a:rPr lang="en-US" smtClean="0"/>
              <a:t>4/5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345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Pattern – Three-part Schema</a:t>
            </a:r>
            <a:endParaRPr lang="en-IN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58877384"/>
              </p:ext>
            </p:extLst>
          </p:nvPr>
        </p:nvGraphicFramePr>
        <p:xfrm>
          <a:off x="990600" y="1422776"/>
          <a:ext cx="7010400" cy="487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Curved Left Arrow 3"/>
          <p:cNvSpPr/>
          <p:nvPr/>
        </p:nvSpPr>
        <p:spPr>
          <a:xfrm>
            <a:off x="7924800" y="2209800"/>
            <a:ext cx="731520" cy="1216152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Curved Left Arrow 13"/>
          <p:cNvSpPr/>
          <p:nvPr/>
        </p:nvSpPr>
        <p:spPr>
          <a:xfrm>
            <a:off x="7915701" y="4419600"/>
            <a:ext cx="731520" cy="1216152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F95E277-799B-4181-AA39-76E1484C25D4}" type="datetime1">
              <a:rPr lang="en-US" smtClean="0"/>
              <a:t>4/5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689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Mud to Structure</a:t>
            </a:r>
            <a:endParaRPr lang="en-IN" smtClean="0"/>
          </a:p>
        </p:txBody>
      </p:sp>
      <p:sp>
        <p:nvSpPr>
          <p:cNvPr id="2457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smtClean="0"/>
              <a:t>Before we start a new system, we collect requirement from customer </a:t>
            </a:r>
            <a:r>
              <a:rPr lang="en-US" smtClean="0">
                <a:sym typeface="Wingdings" pitchFamily="2" charset="2"/>
              </a:rPr>
              <a:t> transform those into specifications</a:t>
            </a:r>
          </a:p>
          <a:p>
            <a:pPr lvl="1" eaLnBrk="1" hangingPunct="1"/>
            <a:r>
              <a:rPr lang="en-US" smtClean="0">
                <a:sym typeface="Wingdings" pitchFamily="2" charset="2"/>
              </a:rPr>
              <a:t>Requirements  Architecture (Optimistic View)</a:t>
            </a:r>
          </a:p>
          <a:p>
            <a:pPr eaLnBrk="1" hangingPunct="1"/>
            <a:r>
              <a:rPr lang="en-US" smtClean="0">
                <a:sym typeface="Wingdings" pitchFamily="2" charset="2"/>
              </a:rPr>
              <a:t>“Ball of mud” is the realization</a:t>
            </a:r>
          </a:p>
          <a:p>
            <a:pPr eaLnBrk="1" hangingPunct="1"/>
            <a:r>
              <a:rPr lang="en-US" smtClean="0">
                <a:sym typeface="Wingdings" pitchFamily="2" charset="2"/>
              </a:rPr>
              <a:t>Cutting the ball along only one aspect (like along lines visible in the application domain may not be of help)</a:t>
            </a:r>
          </a:p>
          <a:p>
            <a:pPr lvl="1" eaLnBrk="1" hangingPunct="1"/>
            <a:r>
              <a:rPr lang="en-US" smtClean="0">
                <a:sym typeface="Wingdings" pitchFamily="2" charset="2"/>
              </a:rPr>
              <a:t>Need to consider functional and non-funcational attributes</a:t>
            </a:r>
            <a:endParaRPr lang="en-US" smtClean="0"/>
          </a:p>
          <a:p>
            <a:pPr eaLnBrk="1" hangingPunct="1"/>
            <a:endParaRPr lang="en-IN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9F75B7-B996-48A6-A228-773DA0435271}" type="datetime1">
              <a:rPr lang="en-US" smtClean="0"/>
              <a:t>4/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950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Layers – 3 part schema</a:t>
            </a:r>
            <a:endParaRPr lang="en-IN" smtClean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84101204"/>
              </p:ext>
            </p:extLst>
          </p:nvPr>
        </p:nvGraphicFramePr>
        <p:xfrm>
          <a:off x="533400" y="1295400"/>
          <a:ext cx="8229600" cy="4649375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806803"/>
                <a:gridCol w="6422797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Context</a:t>
                      </a:r>
                      <a:endParaRPr lang="en-IN" sz="20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 large system</a:t>
                      </a:r>
                      <a:r>
                        <a:rPr lang="en-US" baseline="0" dirty="0" smtClean="0"/>
                        <a:t> that requires decomposition</a:t>
                      </a:r>
                      <a:endParaRPr lang="en-IN" dirty="0"/>
                    </a:p>
                  </a:txBody>
                  <a:tcPr marL="84406" marR="84406"/>
                </a:tc>
              </a:tr>
              <a:tr h="2074655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Problem</a:t>
                      </a:r>
                      <a:endParaRPr lang="en-IN" sz="20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2000" baseline="0" dirty="0" smtClean="0"/>
                        <a:t>Mix of low- and high-level issues, where high-level operations rely on low-level ones</a:t>
                      </a:r>
                    </a:p>
                    <a:p>
                      <a:r>
                        <a:rPr lang="en-US" sz="2000" baseline="0" dirty="0" smtClean="0"/>
                        <a:t>A typical pattern of communication flow consists of requests moving from high level to low level, and answers to requests, incoming data and notification  about events traveling in the opposite direction</a:t>
                      </a:r>
                    </a:p>
                    <a:p>
                      <a:endParaRPr lang="en-US" sz="2000" baseline="0" dirty="0" smtClean="0"/>
                    </a:p>
                  </a:txBody>
                  <a:tcPr marL="84406" marR="84406"/>
                </a:tc>
              </a:tr>
              <a:tr h="1631855">
                <a:tc>
                  <a:txBody>
                    <a:bodyPr/>
                    <a:lstStyle/>
                    <a:p>
                      <a:r>
                        <a:rPr lang="en-IN" sz="2000" dirty="0" smtClean="0"/>
                        <a:t>Forces</a:t>
                      </a:r>
                      <a:endParaRPr lang="en-IN" sz="20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Code changes should not ripple through the system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Stable interfaces; standardization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Exchangeable parts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Grouping of responsibilities for better understandability and maintainability</a:t>
                      </a:r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Solution</a:t>
                      </a:r>
                      <a:endParaRPr lang="en-IN" sz="20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2000" baseline="0" dirty="0" smtClean="0"/>
                        <a:t>Structure the system into appropriate number of layers</a:t>
                      </a:r>
                    </a:p>
                  </a:txBody>
                  <a:tcPr marL="84406" marR="84406"/>
                </a:tc>
              </a:tr>
            </a:tbl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2629014-9B10-46E9-92E0-D9F22016B0C9}" type="datetime1">
              <a:rPr lang="en-US" smtClean="0"/>
              <a:t>4/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925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Layers</a:t>
            </a:r>
            <a:endParaRPr lang="en-IN" smtClean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328716" y="2566124"/>
            <a:ext cx="4114800" cy="3301276"/>
          </a:xfrm>
        </p:spPr>
        <p:txBody>
          <a:bodyPr/>
          <a:lstStyle/>
          <a:p>
            <a:pPr eaLnBrk="1" hangingPunct="1"/>
            <a:r>
              <a:rPr lang="en-US" sz="2400" dirty="0"/>
              <a:t>S</a:t>
            </a:r>
            <a:r>
              <a:rPr lang="en-US" sz="2400" dirty="0" smtClean="0"/>
              <a:t>ervices of Layer J are only used by Layer J+1</a:t>
            </a:r>
          </a:p>
          <a:p>
            <a:pPr eaLnBrk="1" hangingPunct="1"/>
            <a:r>
              <a:rPr lang="en-US" sz="2400" dirty="0" smtClean="0"/>
              <a:t>No further direct dependencies between layers</a:t>
            </a:r>
          </a:p>
          <a:p>
            <a:pPr eaLnBrk="1" hangingPunct="1"/>
            <a:r>
              <a:rPr lang="en-US" sz="2400" dirty="0" smtClean="0"/>
              <a:t>Each layer may contain many component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486116" y="1637430"/>
            <a:ext cx="7353084" cy="4568970"/>
            <a:chOff x="1486116" y="1637430"/>
            <a:chExt cx="7353084" cy="4568970"/>
          </a:xfrm>
        </p:grpSpPr>
        <p:sp>
          <p:nvSpPr>
            <p:cNvPr id="4" name="Rectangle 3"/>
            <p:cNvSpPr/>
            <p:nvPr/>
          </p:nvSpPr>
          <p:spPr>
            <a:xfrm>
              <a:off x="4688183" y="5181600"/>
              <a:ext cx="4117109" cy="1024800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tIns="0" bIns="0" anchor="t" anchorCtr="0"/>
            <a:lstStyle/>
            <a:p>
              <a:pPr algn="ctr">
                <a:defRPr/>
              </a:pPr>
              <a:r>
                <a:rPr lang="en-US" sz="2400" b="1" dirty="0"/>
                <a:t>Layer 1</a:t>
              </a:r>
              <a:endParaRPr lang="en-IN" sz="2400" b="1" dirty="0"/>
            </a:p>
          </p:txBody>
        </p:sp>
        <p:sp>
          <p:nvSpPr>
            <p:cNvPr id="5" name="Rectangle 4"/>
            <p:cNvSpPr/>
            <p:nvPr/>
          </p:nvSpPr>
          <p:spPr>
            <a:xfrm>
              <a:off x="4700826" y="3296759"/>
              <a:ext cx="4138374" cy="1177200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tIns="0" bIns="0" anchor="t" anchorCtr="0"/>
            <a:lstStyle/>
            <a:p>
              <a:pPr algn="ctr">
                <a:defRPr/>
              </a:pPr>
              <a:r>
                <a:rPr lang="en-US" sz="2400" b="1" dirty="0"/>
                <a:t>Layer N-1</a:t>
              </a:r>
              <a:endParaRPr lang="en-IN" sz="2400" b="1" dirty="0"/>
            </a:p>
          </p:txBody>
        </p:sp>
        <p:sp>
          <p:nvSpPr>
            <p:cNvPr id="6" name="Rectangle 5"/>
            <p:cNvSpPr/>
            <p:nvPr/>
          </p:nvSpPr>
          <p:spPr>
            <a:xfrm>
              <a:off x="4700826" y="1637430"/>
              <a:ext cx="4138374" cy="1258170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tIns="0" bIns="0" anchor="t" anchorCtr="0"/>
            <a:lstStyle/>
            <a:p>
              <a:pPr algn="ctr">
                <a:defRPr/>
              </a:pPr>
              <a:r>
                <a:rPr lang="en-US" sz="2400" b="1" dirty="0"/>
                <a:t>Layer N</a:t>
              </a:r>
              <a:endParaRPr lang="en-IN" sz="2400" b="1" dirty="0"/>
            </a:p>
          </p:txBody>
        </p:sp>
        <p:sp>
          <p:nvSpPr>
            <p:cNvPr id="7" name="Rectangle 6"/>
            <p:cNvSpPr/>
            <p:nvPr/>
          </p:nvSpPr>
          <p:spPr>
            <a:xfrm>
              <a:off x="1486116" y="1637430"/>
              <a:ext cx="1800000" cy="720000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2400" b="1" dirty="0"/>
                <a:t>Client</a:t>
              </a:r>
              <a:endParaRPr lang="en-IN" sz="2400" b="1" dirty="0"/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3286125" y="1997075"/>
              <a:ext cx="1414463" cy="1588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V="1">
              <a:off x="5603876" y="2895600"/>
              <a:ext cx="0" cy="4011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V="1">
              <a:off x="5600700" y="4473959"/>
              <a:ext cx="0" cy="707641"/>
            </a:xfrm>
            <a:prstGeom prst="line">
              <a:avLst/>
            </a:prstGeom>
            <a:ln>
              <a:prstDash val="dash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3" name="Rounded Rectangle 12"/>
            <p:cNvSpPr/>
            <p:nvPr/>
          </p:nvSpPr>
          <p:spPr>
            <a:xfrm>
              <a:off x="4800600" y="2133600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N.1</a:t>
              </a:r>
              <a:endParaRPr lang="en-US" dirty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6236613" y="2135985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N.2</a:t>
              </a:r>
              <a:endParaRPr lang="en-US" dirty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543800" y="2135985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N.3</a:t>
              </a:r>
              <a:endParaRPr lang="en-US" dirty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4828953" y="3731415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(N-1).1</a:t>
              </a:r>
              <a:endParaRPr lang="en-US" dirty="0"/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6264966" y="3733800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(N-1).2</a:t>
              </a:r>
              <a:endParaRPr lang="en-US" dirty="0"/>
            </a:p>
          </p:txBody>
        </p:sp>
        <p:sp>
          <p:nvSpPr>
            <p:cNvPr id="21" name="Rounded Rectangle 20"/>
            <p:cNvSpPr/>
            <p:nvPr/>
          </p:nvSpPr>
          <p:spPr>
            <a:xfrm>
              <a:off x="7572153" y="3733800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(N-1).3</a:t>
              </a:r>
              <a:endParaRPr lang="en-US" dirty="0"/>
            </a:p>
          </p:txBody>
        </p:sp>
        <p:sp>
          <p:nvSpPr>
            <p:cNvPr id="22" name="Rounded Rectangle 21"/>
            <p:cNvSpPr/>
            <p:nvPr/>
          </p:nvSpPr>
          <p:spPr>
            <a:xfrm>
              <a:off x="4814776" y="5599185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1.1</a:t>
              </a:r>
              <a:endParaRPr lang="en-US" dirty="0"/>
            </a:p>
          </p:txBody>
        </p:sp>
        <p:sp>
          <p:nvSpPr>
            <p:cNvPr id="23" name="Rounded Rectangle 22"/>
            <p:cNvSpPr/>
            <p:nvPr/>
          </p:nvSpPr>
          <p:spPr>
            <a:xfrm>
              <a:off x="6250789" y="5601570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1.2</a:t>
              </a:r>
              <a:endParaRPr lang="en-US" dirty="0"/>
            </a:p>
          </p:txBody>
        </p:sp>
        <p:sp>
          <p:nvSpPr>
            <p:cNvPr id="24" name="Rounded Rectangle 23"/>
            <p:cNvSpPr/>
            <p:nvPr/>
          </p:nvSpPr>
          <p:spPr>
            <a:xfrm>
              <a:off x="7557976" y="5601570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1.3</a:t>
              </a:r>
              <a:endParaRPr lang="en-US" dirty="0"/>
            </a:p>
          </p:txBody>
        </p:sp>
        <p:cxnSp>
          <p:nvCxnSpPr>
            <p:cNvPr id="15" name="Elbow Connector 14"/>
            <p:cNvCxnSpPr>
              <a:stCxn id="13" idx="2"/>
              <a:endCxn id="18" idx="0"/>
            </p:cNvCxnSpPr>
            <p:nvPr/>
          </p:nvCxnSpPr>
          <p:spPr>
            <a:xfrm rot="16200000" flipH="1">
              <a:off x="4851684" y="3220745"/>
              <a:ext cx="992985" cy="28353"/>
            </a:xfrm>
            <a:prstGeom prst="bentConnector3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>
              <a:stCxn id="16" idx="2"/>
              <a:endCxn id="19" idx="0"/>
            </p:cNvCxnSpPr>
            <p:nvPr/>
          </p:nvCxnSpPr>
          <p:spPr>
            <a:xfrm>
              <a:off x="6770013" y="2740815"/>
              <a:ext cx="28353" cy="992985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Elbow Connector 27"/>
            <p:cNvCxnSpPr>
              <a:stCxn id="17" idx="2"/>
              <a:endCxn id="21" idx="0"/>
            </p:cNvCxnSpPr>
            <p:nvPr/>
          </p:nvCxnSpPr>
          <p:spPr>
            <a:xfrm rot="16200000" flipH="1">
              <a:off x="7594884" y="3223130"/>
              <a:ext cx="992985" cy="28353"/>
            </a:xfrm>
            <a:prstGeom prst="bentConnector3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Elbow Connector 29"/>
            <p:cNvCxnSpPr>
              <a:stCxn id="13" idx="3"/>
              <a:endCxn id="16" idx="1"/>
            </p:cNvCxnSpPr>
            <p:nvPr/>
          </p:nvCxnSpPr>
          <p:spPr>
            <a:xfrm>
              <a:off x="5867400" y="2436015"/>
              <a:ext cx="369213" cy="2385"/>
            </a:xfrm>
            <a:prstGeom prst="bentConnector3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68" name="Elbow Connector 32767"/>
            <p:cNvCxnSpPr>
              <a:stCxn id="16" idx="2"/>
              <a:endCxn id="21" idx="0"/>
            </p:cNvCxnSpPr>
            <p:nvPr/>
          </p:nvCxnSpPr>
          <p:spPr>
            <a:xfrm rot="16200000" flipH="1">
              <a:off x="6941291" y="2569537"/>
              <a:ext cx="992985" cy="133554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77" name="Elbow Connector 32776"/>
            <p:cNvCxnSpPr>
              <a:stCxn id="18" idx="2"/>
              <a:endCxn id="21" idx="2"/>
            </p:cNvCxnSpPr>
            <p:nvPr/>
          </p:nvCxnSpPr>
          <p:spPr>
            <a:xfrm rot="16200000" flipH="1">
              <a:off x="6732761" y="2965837"/>
              <a:ext cx="2385" cy="2743200"/>
            </a:xfrm>
            <a:prstGeom prst="bentConnector3">
              <a:avLst>
                <a:gd name="adj1" fmla="val 9684906"/>
              </a:avLst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79" name="Elbow Connector 32778"/>
            <p:cNvCxnSpPr>
              <a:stCxn id="19" idx="3"/>
              <a:endCxn id="21" idx="1"/>
            </p:cNvCxnSpPr>
            <p:nvPr/>
          </p:nvCxnSpPr>
          <p:spPr>
            <a:xfrm>
              <a:off x="7331766" y="4036215"/>
              <a:ext cx="240387" cy="12700"/>
            </a:xfrm>
            <a:prstGeom prst="bentConnector3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81" name="Elbow Connector 32780"/>
            <p:cNvCxnSpPr>
              <a:stCxn id="18" idx="1"/>
              <a:endCxn id="23" idx="0"/>
            </p:cNvCxnSpPr>
            <p:nvPr/>
          </p:nvCxnSpPr>
          <p:spPr>
            <a:xfrm rot="10800000" flipH="1" flipV="1">
              <a:off x="4828953" y="4033830"/>
              <a:ext cx="1955236" cy="1567740"/>
            </a:xfrm>
            <a:prstGeom prst="bentConnector4">
              <a:avLst>
                <a:gd name="adj1" fmla="val -11692"/>
                <a:gd name="adj2" fmla="val 59645"/>
              </a:avLst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83" name="Elbow Connector 32782"/>
            <p:cNvCxnSpPr>
              <a:stCxn id="19" idx="2"/>
              <a:endCxn id="22" idx="0"/>
            </p:cNvCxnSpPr>
            <p:nvPr/>
          </p:nvCxnSpPr>
          <p:spPr>
            <a:xfrm rot="5400000">
              <a:off x="5442994" y="4243812"/>
              <a:ext cx="1260555" cy="1450190"/>
            </a:xfrm>
            <a:prstGeom prst="bentConnector3">
              <a:avLst>
                <a:gd name="adj1" fmla="val 32287"/>
              </a:avLst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86" name="Elbow Connector 32785"/>
            <p:cNvCxnSpPr>
              <a:stCxn id="21" idx="3"/>
              <a:endCxn id="24" idx="0"/>
            </p:cNvCxnSpPr>
            <p:nvPr/>
          </p:nvCxnSpPr>
          <p:spPr>
            <a:xfrm flipH="1">
              <a:off x="8091376" y="4036215"/>
              <a:ext cx="547577" cy="1565355"/>
            </a:xfrm>
            <a:prstGeom prst="bentConnector4">
              <a:avLst>
                <a:gd name="adj1" fmla="val -41748"/>
                <a:gd name="adj2" fmla="val 59660"/>
              </a:avLst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DF9C5D-471E-4363-959A-AD45B43EC381}" type="datetime1">
              <a:rPr lang="en-US" smtClean="0"/>
              <a:t>4/5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86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Dynamics</a:t>
            </a:r>
            <a:endParaRPr lang="en-IN" smtClean="0"/>
          </a:p>
        </p:txBody>
      </p:sp>
      <p:sp>
        <p:nvSpPr>
          <p:cNvPr id="4" name="Rectangle 3"/>
          <p:cNvSpPr/>
          <p:nvPr/>
        </p:nvSpPr>
        <p:spPr>
          <a:xfrm>
            <a:off x="124265" y="5009042"/>
            <a:ext cx="2812041" cy="629759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1</a:t>
            </a:r>
            <a:endParaRPr lang="en-IN" sz="2400" b="1" dirty="0"/>
          </a:p>
        </p:txBody>
      </p:sp>
      <p:sp>
        <p:nvSpPr>
          <p:cNvPr id="5" name="Rectangle 4"/>
          <p:cNvSpPr/>
          <p:nvPr/>
        </p:nvSpPr>
        <p:spPr>
          <a:xfrm>
            <a:off x="140279" y="3440739"/>
            <a:ext cx="2826565" cy="59786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N-1</a:t>
            </a:r>
            <a:endParaRPr lang="en-IN" sz="2400" b="1" dirty="0"/>
          </a:p>
        </p:txBody>
      </p:sp>
      <p:sp>
        <p:nvSpPr>
          <p:cNvPr id="6" name="Rectangle 5"/>
          <p:cNvSpPr/>
          <p:nvPr/>
        </p:nvSpPr>
        <p:spPr>
          <a:xfrm>
            <a:off x="140279" y="1676400"/>
            <a:ext cx="2826565" cy="638983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N</a:t>
            </a:r>
            <a:endParaRPr lang="en-IN" sz="2400" b="1" dirty="0"/>
          </a:p>
        </p:txBody>
      </p:sp>
      <p:cxnSp>
        <p:nvCxnSpPr>
          <p:cNvPr id="7" name="Straight Connector 6"/>
          <p:cNvCxnSpPr>
            <a:stCxn id="5" idx="0"/>
            <a:endCxn id="6" idx="2"/>
          </p:cNvCxnSpPr>
          <p:nvPr/>
        </p:nvCxnSpPr>
        <p:spPr>
          <a:xfrm flipV="1">
            <a:off x="1553562" y="2315383"/>
            <a:ext cx="0" cy="1125356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stCxn id="4" idx="0"/>
            <a:endCxn id="5" idx="2"/>
          </p:cNvCxnSpPr>
          <p:nvPr/>
        </p:nvCxnSpPr>
        <p:spPr>
          <a:xfrm flipV="1">
            <a:off x="1530286" y="4038600"/>
            <a:ext cx="23276" cy="970442"/>
          </a:xfrm>
          <a:prstGeom prst="line">
            <a:avLst/>
          </a:prstGeom>
          <a:ln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4" name="Freeform 13"/>
          <p:cNvSpPr/>
          <p:nvPr/>
        </p:nvSpPr>
        <p:spPr>
          <a:xfrm>
            <a:off x="2954439" y="1769671"/>
            <a:ext cx="926805" cy="441901"/>
          </a:xfrm>
          <a:custGeom>
            <a:avLst/>
            <a:gdLst>
              <a:gd name="connsiteX0" fmla="*/ 1297172 w 1297172"/>
              <a:gd name="connsiteY0" fmla="*/ 0 h 786809"/>
              <a:gd name="connsiteX1" fmla="*/ 925033 w 1297172"/>
              <a:gd name="connsiteY1" fmla="*/ 616688 h 786809"/>
              <a:gd name="connsiteX2" fmla="*/ 0 w 1297172"/>
              <a:gd name="connsiteY2" fmla="*/ 786809 h 78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97172" h="786809">
                <a:moveTo>
                  <a:pt x="1297172" y="0"/>
                </a:moveTo>
                <a:cubicBezTo>
                  <a:pt x="1219200" y="242776"/>
                  <a:pt x="1141228" y="485553"/>
                  <a:pt x="925033" y="616688"/>
                </a:cubicBezTo>
                <a:cubicBezTo>
                  <a:pt x="708838" y="747823"/>
                  <a:pt x="354419" y="767316"/>
                  <a:pt x="0" y="786809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3195444" y="1383268"/>
            <a:ext cx="13003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lient calls</a:t>
            </a:r>
            <a:endParaRPr lang="en-US" dirty="0"/>
          </a:p>
        </p:txBody>
      </p:sp>
      <p:sp>
        <p:nvSpPr>
          <p:cNvPr id="17" name="Freeform 16"/>
          <p:cNvSpPr/>
          <p:nvPr/>
        </p:nvSpPr>
        <p:spPr>
          <a:xfrm>
            <a:off x="2954439" y="2200940"/>
            <a:ext cx="425325" cy="1392865"/>
          </a:xfrm>
          <a:custGeom>
            <a:avLst/>
            <a:gdLst>
              <a:gd name="connsiteX0" fmla="*/ 0 w 425325"/>
              <a:gd name="connsiteY0" fmla="*/ 0 h 1392865"/>
              <a:gd name="connsiteX1" fmla="*/ 425303 w 425325"/>
              <a:gd name="connsiteY1" fmla="*/ 574158 h 1392865"/>
              <a:gd name="connsiteX2" fmla="*/ 21265 w 425325"/>
              <a:gd name="connsiteY2" fmla="*/ 1392865 h 1392865"/>
              <a:gd name="connsiteX3" fmla="*/ 21265 w 425325"/>
              <a:gd name="connsiteY3" fmla="*/ 1392865 h 1392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325" h="1392865">
                <a:moveTo>
                  <a:pt x="0" y="0"/>
                </a:moveTo>
                <a:cubicBezTo>
                  <a:pt x="210879" y="171007"/>
                  <a:pt x="421759" y="342014"/>
                  <a:pt x="425303" y="574158"/>
                </a:cubicBezTo>
                <a:cubicBezTo>
                  <a:pt x="428847" y="806302"/>
                  <a:pt x="21265" y="1392865"/>
                  <a:pt x="21265" y="1392865"/>
                </a:cubicBezTo>
                <a:lnTo>
                  <a:pt x="21265" y="1392865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1900044" y="2611129"/>
            <a:ext cx="25957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cannot carry out the request </a:t>
            </a:r>
            <a:r>
              <a:rPr lang="en-US" sz="1400" dirty="0" smtClean="0"/>
              <a:t>completely on </a:t>
            </a:r>
            <a:r>
              <a:rPr lang="en-US" sz="1400" dirty="0"/>
              <a:t>its own, it calls </a:t>
            </a:r>
            <a:r>
              <a:rPr lang="en-US" sz="1400" dirty="0" smtClean="0"/>
              <a:t>layer </a:t>
            </a:r>
            <a:r>
              <a:rPr lang="en-US" sz="1400" dirty="0"/>
              <a:t>N-1</a:t>
            </a:r>
          </a:p>
        </p:txBody>
      </p:sp>
      <p:sp>
        <p:nvSpPr>
          <p:cNvPr id="21" name="Freeform 20"/>
          <p:cNvSpPr/>
          <p:nvPr/>
        </p:nvSpPr>
        <p:spPr>
          <a:xfrm>
            <a:off x="2967153" y="3920976"/>
            <a:ext cx="425325" cy="1707744"/>
          </a:xfrm>
          <a:custGeom>
            <a:avLst/>
            <a:gdLst>
              <a:gd name="connsiteX0" fmla="*/ 0 w 425325"/>
              <a:gd name="connsiteY0" fmla="*/ 0 h 1392865"/>
              <a:gd name="connsiteX1" fmla="*/ 425303 w 425325"/>
              <a:gd name="connsiteY1" fmla="*/ 574158 h 1392865"/>
              <a:gd name="connsiteX2" fmla="*/ 21265 w 425325"/>
              <a:gd name="connsiteY2" fmla="*/ 1392865 h 1392865"/>
              <a:gd name="connsiteX3" fmla="*/ 21265 w 425325"/>
              <a:gd name="connsiteY3" fmla="*/ 1392865 h 1392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325" h="1392865">
                <a:moveTo>
                  <a:pt x="0" y="0"/>
                </a:moveTo>
                <a:cubicBezTo>
                  <a:pt x="210879" y="171007"/>
                  <a:pt x="421759" y="342014"/>
                  <a:pt x="425303" y="574158"/>
                </a:cubicBezTo>
                <a:cubicBezTo>
                  <a:pt x="428847" y="806302"/>
                  <a:pt x="21265" y="1392865"/>
                  <a:pt x="21265" y="1392865"/>
                </a:cubicBezTo>
                <a:lnTo>
                  <a:pt x="21265" y="1392865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1676400" y="4082901"/>
            <a:ext cx="162147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Request passing continues till Layer 1 fulfills the request</a:t>
            </a:r>
            <a:endParaRPr lang="en-US" sz="1400" dirty="0"/>
          </a:p>
        </p:txBody>
      </p:sp>
      <p:sp>
        <p:nvSpPr>
          <p:cNvPr id="24" name="Rectangle 23"/>
          <p:cNvSpPr/>
          <p:nvPr/>
        </p:nvSpPr>
        <p:spPr>
          <a:xfrm>
            <a:off x="6028721" y="4997374"/>
            <a:ext cx="2324001" cy="629759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1</a:t>
            </a:r>
            <a:endParaRPr lang="en-IN" sz="2400" b="1" dirty="0"/>
          </a:p>
        </p:txBody>
      </p:sp>
      <p:sp>
        <p:nvSpPr>
          <p:cNvPr id="25" name="Rectangle 24"/>
          <p:cNvSpPr/>
          <p:nvPr/>
        </p:nvSpPr>
        <p:spPr>
          <a:xfrm>
            <a:off x="6045995" y="3429071"/>
            <a:ext cx="2336005" cy="59786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N-1</a:t>
            </a:r>
            <a:endParaRPr lang="en-IN" sz="2400" b="1" dirty="0"/>
          </a:p>
        </p:txBody>
      </p:sp>
      <p:sp>
        <p:nvSpPr>
          <p:cNvPr id="26" name="Rectangle 25"/>
          <p:cNvSpPr/>
          <p:nvPr/>
        </p:nvSpPr>
        <p:spPr>
          <a:xfrm>
            <a:off x="6045995" y="1664732"/>
            <a:ext cx="2336005" cy="638983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N</a:t>
            </a:r>
            <a:endParaRPr lang="en-IN" sz="2400" b="1" dirty="0"/>
          </a:p>
        </p:txBody>
      </p:sp>
      <p:cxnSp>
        <p:nvCxnSpPr>
          <p:cNvPr id="27" name="Straight Connector 26"/>
          <p:cNvCxnSpPr>
            <a:stCxn id="25" idx="0"/>
            <a:endCxn id="26" idx="2"/>
          </p:cNvCxnSpPr>
          <p:nvPr/>
        </p:nvCxnSpPr>
        <p:spPr>
          <a:xfrm flipV="1">
            <a:off x="7213998" y="2303715"/>
            <a:ext cx="0" cy="1125356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24" idx="0"/>
            <a:endCxn id="25" idx="2"/>
          </p:cNvCxnSpPr>
          <p:nvPr/>
        </p:nvCxnSpPr>
        <p:spPr>
          <a:xfrm flipV="1">
            <a:off x="7190722" y="4026932"/>
            <a:ext cx="23276" cy="970442"/>
          </a:xfrm>
          <a:prstGeom prst="line">
            <a:avLst/>
          </a:prstGeom>
          <a:ln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9" name="Freeform 28"/>
          <p:cNvSpPr/>
          <p:nvPr/>
        </p:nvSpPr>
        <p:spPr>
          <a:xfrm>
            <a:off x="8364640" y="1567935"/>
            <a:ext cx="463402" cy="631970"/>
          </a:xfrm>
          <a:custGeom>
            <a:avLst/>
            <a:gdLst>
              <a:gd name="connsiteX0" fmla="*/ 1297172 w 1297172"/>
              <a:gd name="connsiteY0" fmla="*/ 0 h 786809"/>
              <a:gd name="connsiteX1" fmla="*/ 925033 w 1297172"/>
              <a:gd name="connsiteY1" fmla="*/ 616688 h 786809"/>
              <a:gd name="connsiteX2" fmla="*/ 0 w 1297172"/>
              <a:gd name="connsiteY2" fmla="*/ 786809 h 78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97172" h="786809">
                <a:moveTo>
                  <a:pt x="1297172" y="0"/>
                </a:moveTo>
                <a:cubicBezTo>
                  <a:pt x="1219200" y="242776"/>
                  <a:pt x="1141228" y="485553"/>
                  <a:pt x="925033" y="616688"/>
                </a:cubicBezTo>
                <a:cubicBezTo>
                  <a:pt x="708838" y="747823"/>
                  <a:pt x="354419" y="767316"/>
                  <a:pt x="0" y="786809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7924801" y="990600"/>
            <a:ext cx="121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smtClean="0"/>
              <a:t>Client receives</a:t>
            </a:r>
            <a:endParaRPr lang="en-US" dirty="0"/>
          </a:p>
        </p:txBody>
      </p:sp>
      <p:sp>
        <p:nvSpPr>
          <p:cNvPr id="31" name="Freeform 30"/>
          <p:cNvSpPr/>
          <p:nvPr/>
        </p:nvSpPr>
        <p:spPr>
          <a:xfrm rot="10800000">
            <a:off x="5658273" y="2032601"/>
            <a:ext cx="425325" cy="1532152"/>
          </a:xfrm>
          <a:custGeom>
            <a:avLst/>
            <a:gdLst>
              <a:gd name="connsiteX0" fmla="*/ 0 w 425325"/>
              <a:gd name="connsiteY0" fmla="*/ 0 h 1392865"/>
              <a:gd name="connsiteX1" fmla="*/ 425303 w 425325"/>
              <a:gd name="connsiteY1" fmla="*/ 574158 h 1392865"/>
              <a:gd name="connsiteX2" fmla="*/ 21265 w 425325"/>
              <a:gd name="connsiteY2" fmla="*/ 1392865 h 1392865"/>
              <a:gd name="connsiteX3" fmla="*/ 21265 w 425325"/>
              <a:gd name="connsiteY3" fmla="*/ 1392865 h 1392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325" h="1392865">
                <a:moveTo>
                  <a:pt x="0" y="0"/>
                </a:moveTo>
                <a:cubicBezTo>
                  <a:pt x="210879" y="171007"/>
                  <a:pt x="421759" y="342014"/>
                  <a:pt x="425303" y="574158"/>
                </a:cubicBezTo>
                <a:cubicBezTo>
                  <a:pt x="428847" y="806302"/>
                  <a:pt x="21265" y="1392865"/>
                  <a:pt x="21265" y="1392865"/>
                </a:cubicBezTo>
                <a:lnTo>
                  <a:pt x="21265" y="1392865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/>
        </p:nvSpPr>
        <p:spPr>
          <a:xfrm>
            <a:off x="5036648" y="2611129"/>
            <a:ext cx="21261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Reporting continues till the top</a:t>
            </a:r>
            <a:endParaRPr lang="en-US" sz="1400" dirty="0"/>
          </a:p>
        </p:txBody>
      </p:sp>
      <p:sp>
        <p:nvSpPr>
          <p:cNvPr id="33" name="Freeform 32"/>
          <p:cNvSpPr/>
          <p:nvPr/>
        </p:nvSpPr>
        <p:spPr>
          <a:xfrm rot="10800000">
            <a:off x="5534679" y="3906836"/>
            <a:ext cx="566868" cy="1695931"/>
          </a:xfrm>
          <a:custGeom>
            <a:avLst/>
            <a:gdLst>
              <a:gd name="connsiteX0" fmla="*/ 0 w 425325"/>
              <a:gd name="connsiteY0" fmla="*/ 0 h 1392865"/>
              <a:gd name="connsiteX1" fmla="*/ 425303 w 425325"/>
              <a:gd name="connsiteY1" fmla="*/ 574158 h 1392865"/>
              <a:gd name="connsiteX2" fmla="*/ 21265 w 425325"/>
              <a:gd name="connsiteY2" fmla="*/ 1392865 h 1392865"/>
              <a:gd name="connsiteX3" fmla="*/ 21265 w 425325"/>
              <a:gd name="connsiteY3" fmla="*/ 1392865 h 1392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325" h="1392865">
                <a:moveTo>
                  <a:pt x="0" y="0"/>
                </a:moveTo>
                <a:cubicBezTo>
                  <a:pt x="210879" y="171007"/>
                  <a:pt x="421759" y="342014"/>
                  <a:pt x="425303" y="574158"/>
                </a:cubicBezTo>
                <a:cubicBezTo>
                  <a:pt x="428847" y="806302"/>
                  <a:pt x="21265" y="1392865"/>
                  <a:pt x="21265" y="1392865"/>
                </a:cubicBezTo>
                <a:lnTo>
                  <a:pt x="21265" y="1392865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/>
        </p:nvSpPr>
        <p:spPr>
          <a:xfrm>
            <a:off x="3933131" y="4724400"/>
            <a:ext cx="211286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 smtClean="0"/>
              <a:t>Device driver gets notification</a:t>
            </a:r>
          </a:p>
          <a:p>
            <a:pPr algn="r"/>
            <a:r>
              <a:rPr lang="en-US" sz="1400" dirty="0" smtClean="0"/>
              <a:t>Reports to the higher layer</a:t>
            </a:r>
            <a:endParaRPr lang="en-US" sz="1400" dirty="0"/>
          </a:p>
        </p:txBody>
      </p:sp>
      <p:sp>
        <p:nvSpPr>
          <p:cNvPr id="20" name="Freeform 19"/>
          <p:cNvSpPr/>
          <p:nvPr/>
        </p:nvSpPr>
        <p:spPr>
          <a:xfrm>
            <a:off x="2934586" y="3810000"/>
            <a:ext cx="649790" cy="1775637"/>
          </a:xfrm>
          <a:custGeom>
            <a:avLst/>
            <a:gdLst>
              <a:gd name="connsiteX0" fmla="*/ 31898 w 649790"/>
              <a:gd name="connsiteY0" fmla="*/ 0 h 1775637"/>
              <a:gd name="connsiteX1" fmla="*/ 393405 w 649790"/>
              <a:gd name="connsiteY1" fmla="*/ 202019 h 1775637"/>
              <a:gd name="connsiteX2" fmla="*/ 648586 w 649790"/>
              <a:gd name="connsiteY2" fmla="*/ 765544 h 1775637"/>
              <a:gd name="connsiteX3" fmla="*/ 467833 w 649790"/>
              <a:gd name="connsiteY3" fmla="*/ 1371600 h 1775637"/>
              <a:gd name="connsiteX4" fmla="*/ 0 w 649790"/>
              <a:gd name="connsiteY4" fmla="*/ 1775637 h 1775637"/>
              <a:gd name="connsiteX5" fmla="*/ 0 w 649790"/>
              <a:gd name="connsiteY5" fmla="*/ 1775637 h 1775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9790" h="1775637">
                <a:moveTo>
                  <a:pt x="31898" y="0"/>
                </a:moveTo>
                <a:cubicBezTo>
                  <a:pt x="161261" y="37214"/>
                  <a:pt x="290624" y="74428"/>
                  <a:pt x="393405" y="202019"/>
                </a:cubicBezTo>
                <a:cubicBezTo>
                  <a:pt x="496186" y="329610"/>
                  <a:pt x="636181" y="570614"/>
                  <a:pt x="648586" y="765544"/>
                </a:cubicBezTo>
                <a:cubicBezTo>
                  <a:pt x="660991" y="960474"/>
                  <a:pt x="575931" y="1203251"/>
                  <a:pt x="467833" y="1371600"/>
                </a:cubicBezTo>
                <a:cubicBezTo>
                  <a:pt x="359735" y="1539949"/>
                  <a:pt x="0" y="1775637"/>
                  <a:pt x="0" y="1775637"/>
                </a:cubicBezTo>
                <a:lnTo>
                  <a:pt x="0" y="1775637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533400" y="6019800"/>
            <a:ext cx="13644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cenario - I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6520122" y="6019800"/>
            <a:ext cx="14285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cenario - II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B07FB72-E629-4291-B6F5-8453DDD98F16}" type="datetime1">
              <a:rPr lang="en-US" smtClean="0"/>
              <a:t>4/5/20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9921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14" grpId="0" animBg="1"/>
      <p:bldP spid="15" grpId="0"/>
      <p:bldP spid="17" grpId="0" animBg="1"/>
      <p:bldP spid="18" grpId="0"/>
      <p:bldP spid="21" grpId="0" animBg="1"/>
      <p:bldP spid="22" grpId="0"/>
      <p:bldP spid="24" grpId="0" animBg="1"/>
      <p:bldP spid="25" grpId="0" animBg="1"/>
      <p:bldP spid="26" grpId="0" animBg="1"/>
      <p:bldP spid="29" grpId="0" animBg="1"/>
      <p:bldP spid="30" grpId="0"/>
      <p:bldP spid="31" grpId="0" animBg="1"/>
      <p:bldP spid="32" grpId="0"/>
      <p:bldP spid="33" grpId="0" animBg="1"/>
      <p:bldP spid="34" grpId="0"/>
      <p:bldP spid="20" grpId="0" animBg="1"/>
      <p:bldP spid="23" grpId="0"/>
      <p:bldP spid="37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Dynamics</a:t>
            </a:r>
            <a:endParaRPr lang="en-IN" smtClean="0"/>
          </a:p>
        </p:txBody>
      </p:sp>
      <p:sp>
        <p:nvSpPr>
          <p:cNvPr id="4" name="Rectangle 3"/>
          <p:cNvSpPr/>
          <p:nvPr/>
        </p:nvSpPr>
        <p:spPr>
          <a:xfrm>
            <a:off x="124265" y="5009042"/>
            <a:ext cx="2812041" cy="629759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1</a:t>
            </a:r>
            <a:endParaRPr lang="en-IN" sz="2400" b="1" dirty="0"/>
          </a:p>
        </p:txBody>
      </p:sp>
      <p:sp>
        <p:nvSpPr>
          <p:cNvPr id="5" name="Rectangle 4"/>
          <p:cNvSpPr/>
          <p:nvPr/>
        </p:nvSpPr>
        <p:spPr>
          <a:xfrm>
            <a:off x="140279" y="3440739"/>
            <a:ext cx="2826565" cy="59786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</a:t>
            </a:r>
            <a:r>
              <a:rPr lang="en-US" sz="2400" b="1" dirty="0" smtClean="0"/>
              <a:t>N-k</a:t>
            </a:r>
            <a:endParaRPr lang="en-IN" sz="2400" b="1" dirty="0"/>
          </a:p>
        </p:txBody>
      </p:sp>
      <p:sp>
        <p:nvSpPr>
          <p:cNvPr id="6" name="Rectangle 5"/>
          <p:cNvSpPr/>
          <p:nvPr/>
        </p:nvSpPr>
        <p:spPr>
          <a:xfrm>
            <a:off x="140279" y="1371600"/>
            <a:ext cx="2826565" cy="638983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N</a:t>
            </a:r>
            <a:endParaRPr lang="en-IN" sz="2400" b="1" dirty="0"/>
          </a:p>
        </p:txBody>
      </p:sp>
      <p:cxnSp>
        <p:nvCxnSpPr>
          <p:cNvPr id="7" name="Straight Connector 6"/>
          <p:cNvCxnSpPr>
            <a:stCxn id="5" idx="0"/>
            <a:endCxn id="6" idx="2"/>
          </p:cNvCxnSpPr>
          <p:nvPr/>
        </p:nvCxnSpPr>
        <p:spPr>
          <a:xfrm flipV="1">
            <a:off x="1553562" y="2010583"/>
            <a:ext cx="0" cy="1430156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stCxn id="4" idx="0"/>
            <a:endCxn id="5" idx="2"/>
          </p:cNvCxnSpPr>
          <p:nvPr/>
        </p:nvCxnSpPr>
        <p:spPr>
          <a:xfrm flipV="1">
            <a:off x="1530286" y="4038600"/>
            <a:ext cx="23276" cy="970442"/>
          </a:xfrm>
          <a:prstGeom prst="line">
            <a:avLst/>
          </a:prstGeom>
          <a:ln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4" name="Freeform 13"/>
          <p:cNvSpPr/>
          <p:nvPr/>
        </p:nvSpPr>
        <p:spPr>
          <a:xfrm>
            <a:off x="3006326" y="1442019"/>
            <a:ext cx="926805" cy="441901"/>
          </a:xfrm>
          <a:custGeom>
            <a:avLst/>
            <a:gdLst>
              <a:gd name="connsiteX0" fmla="*/ 1297172 w 1297172"/>
              <a:gd name="connsiteY0" fmla="*/ 0 h 786809"/>
              <a:gd name="connsiteX1" fmla="*/ 925033 w 1297172"/>
              <a:gd name="connsiteY1" fmla="*/ 616688 h 786809"/>
              <a:gd name="connsiteX2" fmla="*/ 0 w 1297172"/>
              <a:gd name="connsiteY2" fmla="*/ 786809 h 78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97172" h="786809">
                <a:moveTo>
                  <a:pt x="1297172" y="0"/>
                </a:moveTo>
                <a:cubicBezTo>
                  <a:pt x="1219200" y="242776"/>
                  <a:pt x="1141228" y="485553"/>
                  <a:pt x="925033" y="616688"/>
                </a:cubicBezTo>
                <a:cubicBezTo>
                  <a:pt x="708838" y="747823"/>
                  <a:pt x="354419" y="767316"/>
                  <a:pt x="0" y="786809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2954439" y="1198603"/>
            <a:ext cx="13003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lient calls</a:t>
            </a:r>
            <a:endParaRPr lang="en-US" dirty="0"/>
          </a:p>
        </p:txBody>
      </p:sp>
      <p:sp>
        <p:nvSpPr>
          <p:cNvPr id="17" name="Freeform 16"/>
          <p:cNvSpPr/>
          <p:nvPr/>
        </p:nvSpPr>
        <p:spPr>
          <a:xfrm>
            <a:off x="2954439" y="1883920"/>
            <a:ext cx="425325" cy="1709885"/>
          </a:xfrm>
          <a:custGeom>
            <a:avLst/>
            <a:gdLst>
              <a:gd name="connsiteX0" fmla="*/ 0 w 425325"/>
              <a:gd name="connsiteY0" fmla="*/ 0 h 1392865"/>
              <a:gd name="connsiteX1" fmla="*/ 425303 w 425325"/>
              <a:gd name="connsiteY1" fmla="*/ 574158 h 1392865"/>
              <a:gd name="connsiteX2" fmla="*/ 21265 w 425325"/>
              <a:gd name="connsiteY2" fmla="*/ 1392865 h 1392865"/>
              <a:gd name="connsiteX3" fmla="*/ 21265 w 425325"/>
              <a:gd name="connsiteY3" fmla="*/ 1392865 h 1392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325" h="1392865">
                <a:moveTo>
                  <a:pt x="0" y="0"/>
                </a:moveTo>
                <a:cubicBezTo>
                  <a:pt x="210879" y="171007"/>
                  <a:pt x="421759" y="342014"/>
                  <a:pt x="425303" y="574158"/>
                </a:cubicBezTo>
                <a:cubicBezTo>
                  <a:pt x="428847" y="806302"/>
                  <a:pt x="21265" y="1392865"/>
                  <a:pt x="21265" y="1392865"/>
                </a:cubicBezTo>
                <a:lnTo>
                  <a:pt x="21265" y="1392865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1584634" y="2226132"/>
            <a:ext cx="233969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cannot carry out the request </a:t>
            </a:r>
            <a:r>
              <a:rPr lang="en-US" sz="1400" dirty="0" smtClean="0"/>
              <a:t>completely on </a:t>
            </a:r>
            <a:r>
              <a:rPr lang="en-US" sz="1400" dirty="0"/>
              <a:t>its own, it calls </a:t>
            </a:r>
            <a:r>
              <a:rPr lang="en-US" sz="1400" dirty="0" smtClean="0"/>
              <a:t>layer below BUT….</a:t>
            </a:r>
            <a:endParaRPr lang="en-US" sz="1400" dirty="0"/>
          </a:p>
        </p:txBody>
      </p:sp>
      <p:sp>
        <p:nvSpPr>
          <p:cNvPr id="22" name="Rectangle 21"/>
          <p:cNvSpPr/>
          <p:nvPr/>
        </p:nvSpPr>
        <p:spPr>
          <a:xfrm>
            <a:off x="3106820" y="3035503"/>
            <a:ext cx="176998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Request passing does NOT continue till Layer 1.</a:t>
            </a:r>
          </a:p>
          <a:p>
            <a:r>
              <a:rPr lang="en-US" sz="1400" dirty="0" smtClean="0"/>
              <a:t>Some Intermediate layer fulfills the req.</a:t>
            </a:r>
            <a:endParaRPr lang="en-US" sz="1400" dirty="0"/>
          </a:p>
        </p:txBody>
      </p:sp>
      <p:sp>
        <p:nvSpPr>
          <p:cNvPr id="24" name="Rectangle 23"/>
          <p:cNvSpPr/>
          <p:nvPr/>
        </p:nvSpPr>
        <p:spPr>
          <a:xfrm>
            <a:off x="6621539" y="4507468"/>
            <a:ext cx="2112728" cy="629759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1</a:t>
            </a:r>
            <a:endParaRPr lang="en-IN" sz="2400" b="1" dirty="0"/>
          </a:p>
        </p:txBody>
      </p:sp>
      <p:sp>
        <p:nvSpPr>
          <p:cNvPr id="25" name="Rectangle 24"/>
          <p:cNvSpPr/>
          <p:nvPr/>
        </p:nvSpPr>
        <p:spPr>
          <a:xfrm>
            <a:off x="6639359" y="3212139"/>
            <a:ext cx="2123641" cy="59786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</a:t>
            </a:r>
            <a:r>
              <a:rPr lang="en-US" sz="2400" b="1" dirty="0" smtClean="0"/>
              <a:t>N-k</a:t>
            </a:r>
            <a:endParaRPr lang="en-IN" sz="2400" b="1" dirty="0"/>
          </a:p>
        </p:txBody>
      </p:sp>
      <p:sp>
        <p:nvSpPr>
          <p:cNvPr id="26" name="Rectangle 25"/>
          <p:cNvSpPr/>
          <p:nvPr/>
        </p:nvSpPr>
        <p:spPr>
          <a:xfrm>
            <a:off x="6639359" y="1447800"/>
            <a:ext cx="2123641" cy="638983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N</a:t>
            </a:r>
            <a:endParaRPr lang="en-IN" sz="2400" b="1" dirty="0"/>
          </a:p>
        </p:txBody>
      </p:sp>
      <p:cxnSp>
        <p:nvCxnSpPr>
          <p:cNvPr id="27" name="Straight Connector 26"/>
          <p:cNvCxnSpPr>
            <a:stCxn id="25" idx="0"/>
            <a:endCxn id="26" idx="2"/>
          </p:cNvCxnSpPr>
          <p:nvPr/>
        </p:nvCxnSpPr>
        <p:spPr>
          <a:xfrm flipV="1">
            <a:off x="7701180" y="2086783"/>
            <a:ext cx="0" cy="1125356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24" idx="0"/>
            <a:endCxn id="25" idx="2"/>
          </p:cNvCxnSpPr>
          <p:nvPr/>
        </p:nvCxnSpPr>
        <p:spPr>
          <a:xfrm flipV="1">
            <a:off x="7677903" y="3810000"/>
            <a:ext cx="23277" cy="697468"/>
          </a:xfrm>
          <a:prstGeom prst="line">
            <a:avLst/>
          </a:prstGeom>
          <a:ln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4999455" y="2334161"/>
            <a:ext cx="212615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Middle layer understands that it is a repeat request and sends the notification</a:t>
            </a:r>
            <a:endParaRPr lang="en-US" sz="1400" dirty="0"/>
          </a:p>
        </p:txBody>
      </p:sp>
      <p:sp>
        <p:nvSpPr>
          <p:cNvPr id="33" name="Freeform 32"/>
          <p:cNvSpPr/>
          <p:nvPr/>
        </p:nvSpPr>
        <p:spPr>
          <a:xfrm rot="10800000">
            <a:off x="6062532" y="3288268"/>
            <a:ext cx="566868" cy="1695931"/>
          </a:xfrm>
          <a:custGeom>
            <a:avLst/>
            <a:gdLst>
              <a:gd name="connsiteX0" fmla="*/ 0 w 425325"/>
              <a:gd name="connsiteY0" fmla="*/ 0 h 1392865"/>
              <a:gd name="connsiteX1" fmla="*/ 425303 w 425325"/>
              <a:gd name="connsiteY1" fmla="*/ 574158 h 1392865"/>
              <a:gd name="connsiteX2" fmla="*/ 21265 w 425325"/>
              <a:gd name="connsiteY2" fmla="*/ 1392865 h 1392865"/>
              <a:gd name="connsiteX3" fmla="*/ 21265 w 425325"/>
              <a:gd name="connsiteY3" fmla="*/ 1392865 h 1392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325" h="1392865">
                <a:moveTo>
                  <a:pt x="0" y="0"/>
                </a:moveTo>
                <a:cubicBezTo>
                  <a:pt x="210879" y="171007"/>
                  <a:pt x="421759" y="342014"/>
                  <a:pt x="425303" y="574158"/>
                </a:cubicBezTo>
                <a:cubicBezTo>
                  <a:pt x="428847" y="806302"/>
                  <a:pt x="21265" y="1392865"/>
                  <a:pt x="21265" y="1392865"/>
                </a:cubicBezTo>
                <a:lnTo>
                  <a:pt x="21265" y="1392865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/>
        </p:nvSpPr>
        <p:spPr>
          <a:xfrm>
            <a:off x="4114800" y="4379893"/>
            <a:ext cx="236219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 smtClean="0"/>
              <a:t>In a network protocol, lowest layer intercepts a request</a:t>
            </a:r>
          </a:p>
          <a:p>
            <a:pPr algn="r"/>
            <a:r>
              <a:rPr lang="en-US" sz="1400" dirty="0" smtClean="0"/>
              <a:t>Reports to the higher layer</a:t>
            </a:r>
            <a:endParaRPr lang="en-US" sz="1400" dirty="0"/>
          </a:p>
        </p:txBody>
      </p:sp>
      <p:sp>
        <p:nvSpPr>
          <p:cNvPr id="23" name="TextBox 22"/>
          <p:cNvSpPr txBox="1"/>
          <p:nvPr/>
        </p:nvSpPr>
        <p:spPr>
          <a:xfrm>
            <a:off x="140279" y="5742801"/>
            <a:ext cx="41216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cenario – III (layer of caching, where </a:t>
            </a:r>
          </a:p>
          <a:p>
            <a:r>
              <a:rPr lang="en-US" dirty="0" smtClean="0"/>
              <a:t>An intermediate layer returns the data)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5011838" y="5486400"/>
            <a:ext cx="390356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cenario – IV (In network protocol design, intermediate layer responds based on a notification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71C4926-6085-4874-ADF6-D252EAF471EC}" type="datetime1">
              <a:rPr lang="en-US" smtClean="0"/>
              <a:t>4/5/20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6005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14" grpId="0" animBg="1"/>
      <p:bldP spid="15" grpId="0"/>
      <p:bldP spid="17" grpId="0" animBg="1"/>
      <p:bldP spid="18" grpId="0"/>
      <p:bldP spid="22" grpId="0"/>
      <p:bldP spid="24" grpId="0" animBg="1"/>
      <p:bldP spid="25" grpId="0" animBg="1"/>
      <p:bldP spid="26" grpId="0" animBg="1"/>
      <p:bldP spid="32" grpId="0"/>
      <p:bldP spid="33" grpId="0" animBg="1"/>
      <p:bldP spid="34" grpId="0"/>
      <p:bldP spid="23" grpId="0"/>
      <p:bldP spid="37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Dynamics</a:t>
            </a:r>
            <a:endParaRPr lang="en-IN" smtClean="0"/>
          </a:p>
        </p:txBody>
      </p:sp>
      <p:sp>
        <p:nvSpPr>
          <p:cNvPr id="38915" name="Content Placeholder 2"/>
          <p:cNvSpPr>
            <a:spLocks noGrp="1"/>
          </p:cNvSpPr>
          <p:nvPr>
            <p:ph idx="1"/>
          </p:nvPr>
        </p:nvSpPr>
        <p:spPr>
          <a:xfrm>
            <a:off x="323238" y="1371600"/>
            <a:ext cx="8382000" cy="5029200"/>
          </a:xfrm>
        </p:spPr>
        <p:txBody>
          <a:bodyPr/>
          <a:lstStyle/>
          <a:p>
            <a:pPr eaLnBrk="1" hangingPunct="1"/>
            <a:r>
              <a:rPr lang="en-US" dirty="0" smtClean="0"/>
              <a:t>Scenario V</a:t>
            </a:r>
          </a:p>
          <a:p>
            <a:pPr lvl="1" eaLnBrk="1" hangingPunct="1"/>
            <a:r>
              <a:rPr lang="en-US" dirty="0" smtClean="0"/>
              <a:t>Involves two stacks communication with each other</a:t>
            </a:r>
            <a:endParaRPr lang="en-IN" dirty="0" smtClean="0"/>
          </a:p>
        </p:txBody>
      </p:sp>
      <p:sp>
        <p:nvSpPr>
          <p:cNvPr id="4" name="Rectangle 3"/>
          <p:cNvSpPr/>
          <p:nvPr/>
        </p:nvSpPr>
        <p:spPr>
          <a:xfrm>
            <a:off x="5072066" y="5304477"/>
            <a:ext cx="1800000" cy="54094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/>
              <a:t>Layer 1</a:t>
            </a:r>
            <a:endParaRPr lang="en-IN" sz="2400" b="1" dirty="0"/>
          </a:p>
        </p:txBody>
      </p:sp>
      <p:sp>
        <p:nvSpPr>
          <p:cNvPr id="5" name="Rectangle 4"/>
          <p:cNvSpPr/>
          <p:nvPr/>
        </p:nvSpPr>
        <p:spPr>
          <a:xfrm>
            <a:off x="5072066" y="3732841"/>
            <a:ext cx="1800000" cy="54094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/>
              <a:t>Layer N-1</a:t>
            </a:r>
            <a:endParaRPr lang="en-IN" sz="2400" b="1" dirty="0"/>
          </a:p>
        </p:txBody>
      </p:sp>
      <p:sp>
        <p:nvSpPr>
          <p:cNvPr id="6" name="Rectangle 5"/>
          <p:cNvSpPr/>
          <p:nvPr/>
        </p:nvSpPr>
        <p:spPr>
          <a:xfrm>
            <a:off x="5072066" y="2804147"/>
            <a:ext cx="1800000" cy="54094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/>
              <a:t>Layer N</a:t>
            </a:r>
            <a:endParaRPr lang="en-IN" sz="2400" b="1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3643313" y="5572125"/>
            <a:ext cx="1428750" cy="3175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2"/>
          </p:cNvCxnSpPr>
          <p:nvPr/>
        </p:nvCxnSpPr>
        <p:spPr>
          <a:xfrm flipV="1">
            <a:off x="5970588" y="3345093"/>
            <a:ext cx="1478" cy="387748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rot="5400000" flipH="1" flipV="1">
            <a:off x="5545138" y="4789488"/>
            <a:ext cx="852487" cy="1587"/>
          </a:xfrm>
          <a:prstGeom prst="line">
            <a:avLst/>
          </a:prstGeom>
          <a:ln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1857356" y="5304477"/>
            <a:ext cx="1800000" cy="54094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/>
              <a:t>Layer 1</a:t>
            </a:r>
            <a:endParaRPr lang="en-IN" sz="2400" b="1" dirty="0"/>
          </a:p>
        </p:txBody>
      </p:sp>
      <p:sp>
        <p:nvSpPr>
          <p:cNvPr id="12" name="Rectangle 11"/>
          <p:cNvSpPr/>
          <p:nvPr/>
        </p:nvSpPr>
        <p:spPr>
          <a:xfrm>
            <a:off x="1857356" y="3732841"/>
            <a:ext cx="1800000" cy="54094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/>
              <a:t>Layer N-1</a:t>
            </a:r>
            <a:endParaRPr lang="en-IN" sz="2400" b="1" dirty="0"/>
          </a:p>
        </p:txBody>
      </p:sp>
      <p:sp>
        <p:nvSpPr>
          <p:cNvPr id="13" name="Rectangle 12"/>
          <p:cNvSpPr/>
          <p:nvPr/>
        </p:nvSpPr>
        <p:spPr>
          <a:xfrm>
            <a:off x="1857356" y="2804147"/>
            <a:ext cx="1800000" cy="54094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/>
              <a:t>Layer N</a:t>
            </a:r>
            <a:endParaRPr lang="en-IN" sz="2400" b="1" dirty="0"/>
          </a:p>
        </p:txBody>
      </p:sp>
      <p:cxnSp>
        <p:nvCxnSpPr>
          <p:cNvPr id="14" name="Straight Connector 13"/>
          <p:cNvCxnSpPr>
            <a:stCxn id="12" idx="0"/>
          </p:cNvCxnSpPr>
          <p:nvPr/>
        </p:nvCxnSpPr>
        <p:spPr>
          <a:xfrm flipV="1">
            <a:off x="2757356" y="3345095"/>
            <a:ext cx="1042" cy="387746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rot="5400000" flipH="1" flipV="1">
            <a:off x="2330450" y="4789488"/>
            <a:ext cx="852487" cy="1588"/>
          </a:xfrm>
          <a:prstGeom prst="line">
            <a:avLst/>
          </a:prstGeom>
          <a:ln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52804" y="2783639"/>
            <a:ext cx="140455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rgbClr val="00B050"/>
                </a:solidFill>
              </a:rPr>
              <a:t>Send request</a:t>
            </a:r>
            <a:endParaRPr lang="en-US" sz="1600" dirty="0">
              <a:solidFill>
                <a:srgbClr val="00B05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011906" y="5845423"/>
            <a:ext cx="46915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B050"/>
                </a:solidFill>
              </a:rPr>
              <a:t>Send request goes through physical layer</a:t>
            </a:r>
            <a:endParaRPr lang="en-US" sz="1600" dirty="0">
              <a:solidFill>
                <a:srgbClr val="00B05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051158" y="2600461"/>
            <a:ext cx="1980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B050"/>
                </a:solidFill>
              </a:rPr>
              <a:t>Request received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029893" y="3122193"/>
            <a:ext cx="17235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7030A0"/>
                </a:solidFill>
              </a:rPr>
              <a:t>Response sent</a:t>
            </a:r>
            <a:endParaRPr lang="en-US" dirty="0">
              <a:solidFill>
                <a:srgbClr val="7030A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011905" y="6170109"/>
            <a:ext cx="58797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7030A0"/>
                </a:solidFill>
              </a:rPr>
              <a:t>Response message comes  back through physical layer</a:t>
            </a:r>
            <a:endParaRPr lang="en-US" sz="1600" dirty="0">
              <a:solidFill>
                <a:srgbClr val="7030A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09600" y="3069862"/>
            <a:ext cx="12477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7030A0"/>
                </a:solidFill>
              </a:rPr>
              <a:t>Response received</a:t>
            </a:r>
            <a:endParaRPr lang="en-US" sz="1600" dirty="0">
              <a:solidFill>
                <a:srgbClr val="7030A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CF9D209-6586-47D3-ADC9-F9824AB6BA8C}" type="datetime1">
              <a:rPr lang="en-US" smtClean="0"/>
              <a:t>4/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3284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11" grpId="0" animBg="1"/>
      <p:bldP spid="12" grpId="0" animBg="1"/>
      <p:bldP spid="13" grpId="0" animBg="1"/>
      <p:bldP spid="23" grpId="0"/>
      <p:bldP spid="26" grpId="0"/>
      <p:bldP spid="27" grpId="0"/>
      <p:bldP spid="28" grpId="0"/>
      <p:bldP spid="29" grpId="0"/>
      <p:bldP spid="30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5" descr="Picture 7.png"/>
          <p:cNvPicPr>
            <a:picLocks noChangeAspect="1"/>
          </p:cNvPicPr>
          <p:nvPr/>
        </p:nvPicPr>
        <p:blipFill>
          <a:blip r:embed="rId3" cstate="print"/>
          <a:srcRect l="1923" b="5336"/>
          <a:stretch>
            <a:fillRect/>
          </a:stretch>
        </p:blipFill>
        <p:spPr bwMode="auto">
          <a:xfrm>
            <a:off x="7369175" y="0"/>
            <a:ext cx="160655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/>
        </p:nvSpPr>
        <p:spPr>
          <a:xfrm>
            <a:off x="2536825" y="1125538"/>
            <a:ext cx="2328863" cy="476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814888" y="1125538"/>
            <a:ext cx="2235200" cy="444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-9525" y="1125538"/>
            <a:ext cx="2581275" cy="47625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4630738" y="6550025"/>
            <a:ext cx="2328862" cy="492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6907213" y="6550025"/>
            <a:ext cx="2236787" cy="4603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2084388" y="6550025"/>
            <a:ext cx="2579687" cy="49213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153" name="TextBox 12"/>
          <p:cNvSpPr txBox="1">
            <a:spLocks noChangeArrowheads="1"/>
          </p:cNvSpPr>
          <p:nvPr/>
        </p:nvSpPr>
        <p:spPr bwMode="auto">
          <a:xfrm>
            <a:off x="1676400" y="3040063"/>
            <a:ext cx="541020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400" b="1" dirty="0">
                <a:solidFill>
                  <a:srgbClr val="000066"/>
                </a:solidFill>
                <a:latin typeface="Calibri" pitchFamily="34" charset="0"/>
              </a:rPr>
              <a:t>Thank You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>
              <a:defRPr/>
            </a:pPr>
            <a:fld id="{C86219D8-D3CD-472B-9381-C1902B850A54}" type="slidenum">
              <a:rPr lang="en-US"/>
              <a:pPr>
                <a:defRPr/>
              </a:pPr>
              <a:t>49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C9BF9F2-BC13-4E3B-B481-A1DCBD39B791}" type="datetime1">
              <a:rPr lang="en-US" smtClean="0"/>
              <a:t>4/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553200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ews and Architectural Stru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r>
              <a:rPr lang="en-US" sz="2200" dirty="0" smtClean="0"/>
              <a:t>It is too complex to describe, understand and analyze the architecture using one common vocabulary for all stakeholders</a:t>
            </a:r>
          </a:p>
          <a:p>
            <a:r>
              <a:rPr lang="en-US" sz="2000" dirty="0" smtClean="0"/>
              <a:t>View </a:t>
            </a:r>
            <a:r>
              <a:rPr lang="en-US" sz="2000" dirty="0"/>
              <a:t>based approach</a:t>
            </a:r>
          </a:p>
          <a:p>
            <a:pPr lvl="1"/>
            <a:r>
              <a:rPr lang="en-US" sz="1800" dirty="0"/>
              <a:t>Each view </a:t>
            </a:r>
            <a:r>
              <a:rPr lang="en-US" sz="1800" dirty="0" smtClean="0"/>
              <a:t>represents certain </a:t>
            </a:r>
            <a:r>
              <a:rPr lang="en-US" sz="1800" dirty="0"/>
              <a:t>architectural aspects of the </a:t>
            </a:r>
            <a:r>
              <a:rPr lang="en-US" sz="1800" dirty="0" smtClean="0"/>
              <a:t>system, created for a stakeholder</a:t>
            </a:r>
            <a:endParaRPr lang="en-US" sz="1800" dirty="0"/>
          </a:p>
          <a:p>
            <a:r>
              <a:rPr lang="en-US" sz="2000" dirty="0" smtClean="0"/>
              <a:t>A Structure is the underlying part of a view- essentially the set of elements, and their properties</a:t>
            </a:r>
          </a:p>
          <a:p>
            <a:pPr lvl="1"/>
            <a:r>
              <a:rPr lang="en-US" altLang="en-US" sz="2000" dirty="0" smtClean="0"/>
              <a:t>Module </a:t>
            </a:r>
            <a:r>
              <a:rPr lang="en-US" altLang="en-US" sz="2000" dirty="0"/>
              <a:t>Structure</a:t>
            </a:r>
          </a:p>
          <a:p>
            <a:pPr lvl="2" defTabSz="912813" eaLnBrk="1" hangingPunct="1"/>
            <a:r>
              <a:rPr lang="en-US" altLang="en-US" sz="1600" dirty="0"/>
              <a:t>How is the system to be structured as a set of code units (modules</a:t>
            </a:r>
            <a:r>
              <a:rPr lang="en-US" altLang="en-US" sz="1600" dirty="0" smtClean="0"/>
              <a:t>)?</a:t>
            </a:r>
          </a:p>
          <a:p>
            <a:pPr lvl="1" defTabSz="912813" eaLnBrk="1" hangingPunct="1"/>
            <a:r>
              <a:rPr lang="en-US" altLang="en-US" sz="2000" dirty="0"/>
              <a:t>Component-and-connector structures</a:t>
            </a:r>
          </a:p>
          <a:p>
            <a:pPr lvl="2" defTabSz="912813" eaLnBrk="1" hangingPunct="1"/>
            <a:r>
              <a:rPr lang="en-US" altLang="en-US" sz="1600" dirty="0" smtClean="0"/>
              <a:t>Set </a:t>
            </a:r>
            <a:r>
              <a:rPr lang="en-US" altLang="en-US" sz="1600" dirty="0"/>
              <a:t>of elements that </a:t>
            </a:r>
            <a:r>
              <a:rPr lang="en-US" altLang="en-US" sz="1600" dirty="0" smtClean="0"/>
              <a:t>describe runtime </a:t>
            </a:r>
            <a:r>
              <a:rPr lang="en-US" altLang="en-US" sz="1600" dirty="0"/>
              <a:t>behavior (components) and interactions (</a:t>
            </a:r>
            <a:r>
              <a:rPr lang="en-US" altLang="en-US" sz="1600" dirty="0" smtClean="0"/>
              <a:t>connectors)</a:t>
            </a:r>
            <a:endParaRPr lang="en-US" altLang="en-US" dirty="0" smtClean="0"/>
          </a:p>
          <a:p>
            <a:pPr lvl="1" defTabSz="912813" eaLnBrk="1" hangingPunct="1"/>
            <a:r>
              <a:rPr lang="en-US" altLang="en-US" sz="2000" dirty="0"/>
              <a:t>Allocation structures</a:t>
            </a:r>
          </a:p>
          <a:p>
            <a:pPr lvl="2" defTabSz="912813" eaLnBrk="1" hangingPunct="1"/>
            <a:r>
              <a:rPr lang="en-US" altLang="en-US" sz="1600" dirty="0"/>
              <a:t>How is the system to relate to non-software structures in it’s environment (CPU or cluster of CPUs, File Systems, Networks, Development Teams …)</a:t>
            </a:r>
            <a:endParaRPr lang="en-IN" altLang="en-US" sz="1600" dirty="0"/>
          </a:p>
          <a:p>
            <a:pPr lvl="1"/>
            <a:endParaRPr lang="en-US" sz="16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38EF034-28CB-4A89-87AF-F849DEC47D11}" type="datetime1">
              <a:rPr lang="en-US" smtClean="0"/>
              <a:t>4/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7476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2813" eaLnBrk="1" hangingPunct="1"/>
            <a:r>
              <a:rPr lang="en-US" altLang="en-US" dirty="0" smtClean="0"/>
              <a:t>Benefits of Software Architecture</a:t>
            </a:r>
            <a:endParaRPr lang="en-IN" altLang="en-US" dirty="0" smtClean="0"/>
          </a:p>
        </p:txBody>
      </p:sp>
      <p:sp>
        <p:nvSpPr>
          <p:cNvPr id="37891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81000" indent="-381000">
              <a:lnSpc>
                <a:spcPct val="80000"/>
              </a:lnSpc>
              <a:buFontTx/>
              <a:buAutoNum type="arabicPeriod"/>
            </a:pPr>
            <a:r>
              <a:rPr lang="en-US" altLang="en-US" sz="2800" dirty="0"/>
              <a:t>Every stakeholder should understand “unambiguously” what the blueprint </a:t>
            </a:r>
            <a:r>
              <a:rPr lang="en-US" altLang="en-US" sz="2800" dirty="0" smtClean="0"/>
              <a:t>is</a:t>
            </a:r>
            <a:endParaRPr lang="en-US" altLang="en-US" sz="1600" dirty="0"/>
          </a:p>
          <a:p>
            <a:pPr marL="381000" indent="-381000">
              <a:lnSpc>
                <a:spcPct val="80000"/>
              </a:lnSpc>
              <a:buFontTx/>
              <a:buAutoNum type="arabicPeriod" startAt="2"/>
            </a:pPr>
            <a:endParaRPr lang="en-US" altLang="en-US" sz="2800" dirty="0" smtClean="0">
              <a:cs typeface="Times New Roman" pitchFamily="18" charset="0"/>
            </a:endParaRPr>
          </a:p>
          <a:p>
            <a:pPr marL="381000" indent="-381000">
              <a:lnSpc>
                <a:spcPct val="80000"/>
              </a:lnSpc>
              <a:buFontTx/>
              <a:buAutoNum type="arabicPeriod" startAt="2"/>
            </a:pPr>
            <a:r>
              <a:rPr lang="en-US" altLang="en-US" sz="2800" dirty="0" smtClean="0">
                <a:cs typeface="Times New Roman" pitchFamily="18" charset="0"/>
              </a:rPr>
              <a:t>Streamlining </a:t>
            </a:r>
            <a:r>
              <a:rPr lang="en-US" altLang="en-US" sz="2800" dirty="0">
                <a:cs typeface="Times New Roman" pitchFamily="18" charset="0"/>
              </a:rPr>
              <a:t>work assignments for multiple </a:t>
            </a:r>
            <a:r>
              <a:rPr lang="en-US" altLang="en-US" sz="2800" dirty="0" smtClean="0">
                <a:cs typeface="Times New Roman" pitchFamily="18" charset="0"/>
              </a:rPr>
              <a:t>teams</a:t>
            </a:r>
            <a:endParaRPr lang="en-US" altLang="en-US" sz="1600" dirty="0"/>
          </a:p>
          <a:p>
            <a:pPr marL="381000" indent="-381000">
              <a:lnSpc>
                <a:spcPct val="80000"/>
              </a:lnSpc>
              <a:buFontTx/>
              <a:buAutoNum type="arabicPeriod" startAt="3"/>
            </a:pPr>
            <a:endParaRPr lang="en-US" altLang="en-US" sz="2800" dirty="0" smtClean="0"/>
          </a:p>
          <a:p>
            <a:pPr marL="381000" indent="-381000">
              <a:lnSpc>
                <a:spcPct val="80000"/>
              </a:lnSpc>
              <a:buFontTx/>
              <a:buAutoNum type="arabicPeriod" startAt="3"/>
            </a:pPr>
            <a:r>
              <a:rPr lang="en-US" altLang="en-US" sz="2800" dirty="0" smtClean="0"/>
              <a:t>Design decisions are made early</a:t>
            </a:r>
            <a:endParaRPr lang="en-US" altLang="en-US" sz="2800" dirty="0"/>
          </a:p>
          <a:p>
            <a:pPr marL="381000" indent="-381000">
              <a:lnSpc>
                <a:spcPct val="80000"/>
              </a:lnSpc>
              <a:buFontTx/>
              <a:buAutoNum type="arabicPeriod" startAt="4"/>
            </a:pPr>
            <a:endParaRPr lang="en-US" altLang="en-US" sz="2800" dirty="0" smtClean="0"/>
          </a:p>
          <a:p>
            <a:pPr marL="381000" indent="-381000">
              <a:lnSpc>
                <a:spcPct val="80000"/>
              </a:lnSpc>
              <a:buFontTx/>
              <a:buAutoNum type="arabicPeriod" startAt="4"/>
            </a:pPr>
            <a:r>
              <a:rPr lang="en-US" altLang="en-US" sz="2800" dirty="0" smtClean="0"/>
              <a:t>Improve </a:t>
            </a:r>
            <a:r>
              <a:rPr lang="en-US" altLang="en-US" sz="2800" dirty="0"/>
              <a:t>speed of development 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30B830D-AA50-446C-A86B-4FB3114CE73F}" type="datetime1">
              <a:rPr lang="en-US" smtClean="0"/>
              <a:t>4/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3889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2813" eaLnBrk="1" hangingPunct="1"/>
            <a:r>
              <a:rPr lang="en-US" altLang="en-US" dirty="0" smtClean="0"/>
              <a:t>Modular Structures</a:t>
            </a:r>
            <a:endParaRPr lang="en-IN" altLang="en-US" dirty="0" smtClean="0"/>
          </a:p>
        </p:txBody>
      </p:sp>
      <p:sp>
        <p:nvSpPr>
          <p:cNvPr id="33795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5562600" cy="5029200"/>
          </a:xfrm>
        </p:spPr>
        <p:txBody>
          <a:bodyPr/>
          <a:lstStyle/>
          <a:p>
            <a:pPr defTabSz="912813" eaLnBrk="1" hangingPunct="1"/>
            <a:r>
              <a:rPr lang="en-US" altLang="en-US" sz="2400" dirty="0" smtClean="0"/>
              <a:t>Module Structure includes</a:t>
            </a:r>
          </a:p>
          <a:p>
            <a:pPr lvl="1" defTabSz="912813" eaLnBrk="1" hangingPunct="1"/>
            <a:r>
              <a:rPr lang="en-US" altLang="en-US" sz="2000" dirty="0" smtClean="0"/>
              <a:t>Decomposition</a:t>
            </a:r>
          </a:p>
          <a:p>
            <a:pPr lvl="2" defTabSz="912813" eaLnBrk="1" hangingPunct="1"/>
            <a:r>
              <a:rPr lang="en-US" altLang="en-US" sz="1800" dirty="0"/>
              <a:t>Sub-modules</a:t>
            </a:r>
          </a:p>
          <a:p>
            <a:pPr lvl="2" defTabSz="912813" eaLnBrk="1" hangingPunct="1"/>
            <a:r>
              <a:rPr lang="en-US" altLang="en-US" sz="1800" dirty="0"/>
              <a:t>All sub-mobiles combined together is the module</a:t>
            </a:r>
          </a:p>
          <a:p>
            <a:pPr lvl="1" defTabSz="912813" eaLnBrk="1" hangingPunct="1"/>
            <a:r>
              <a:rPr lang="en-US" altLang="en-US" sz="2000" dirty="0" smtClean="0"/>
              <a:t>Uses</a:t>
            </a:r>
          </a:p>
          <a:p>
            <a:pPr lvl="2" defTabSz="912813" eaLnBrk="1" hangingPunct="1"/>
            <a:r>
              <a:rPr lang="en-US" altLang="en-US" sz="1800" dirty="0" smtClean="0"/>
              <a:t>A modules uses the functionality of another module for its behavior</a:t>
            </a:r>
          </a:p>
          <a:p>
            <a:pPr lvl="1" defTabSz="912813" eaLnBrk="1" hangingPunct="1"/>
            <a:r>
              <a:rPr lang="en-US" altLang="en-US" sz="2000" dirty="0" smtClean="0"/>
              <a:t>Layered</a:t>
            </a:r>
          </a:p>
          <a:p>
            <a:pPr lvl="2" defTabSz="912813" eaLnBrk="1" hangingPunct="1"/>
            <a:r>
              <a:rPr lang="en-US" altLang="en-US" sz="1800" dirty="0" smtClean="0"/>
              <a:t>Hierarchical organization with restrictions that layer n uses the service of layer n-1</a:t>
            </a:r>
          </a:p>
          <a:p>
            <a:pPr lvl="1" defTabSz="912813" eaLnBrk="1" hangingPunct="1"/>
            <a:r>
              <a:rPr lang="en-US" altLang="en-US" sz="2000" dirty="0" smtClean="0"/>
              <a:t>Class or generalization</a:t>
            </a:r>
          </a:p>
          <a:p>
            <a:pPr lvl="2" defTabSz="912813" eaLnBrk="1" hangingPunct="1"/>
            <a:r>
              <a:rPr lang="en-US" altLang="en-US" sz="1800" dirty="0"/>
              <a:t>Similar to OO concept</a:t>
            </a:r>
            <a:endParaRPr lang="en-IN" altLang="en-US" sz="1800" dirty="0"/>
          </a:p>
        </p:txBody>
      </p:sp>
      <p:sp>
        <p:nvSpPr>
          <p:cNvPr id="33796" name="TextBox 3"/>
          <p:cNvSpPr txBox="1">
            <a:spLocks noChangeArrowheads="1"/>
          </p:cNvSpPr>
          <p:nvPr/>
        </p:nvSpPr>
        <p:spPr bwMode="auto">
          <a:xfrm>
            <a:off x="6705600" y="1847850"/>
            <a:ext cx="1081088" cy="400050"/>
          </a:xfrm>
          <a:prstGeom prst="rect">
            <a:avLst/>
          </a:prstGeom>
          <a:ln/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lvl1pPr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2000" b="1" dirty="0"/>
              <a:t>Module</a:t>
            </a:r>
            <a:endParaRPr lang="en-IN" altLang="en-US" sz="2000" b="1" dirty="0"/>
          </a:p>
        </p:txBody>
      </p:sp>
      <p:sp>
        <p:nvSpPr>
          <p:cNvPr id="33797" name="TextBox 4"/>
          <p:cNvSpPr txBox="1">
            <a:spLocks noChangeArrowheads="1"/>
          </p:cNvSpPr>
          <p:nvPr/>
        </p:nvSpPr>
        <p:spPr bwMode="auto">
          <a:xfrm>
            <a:off x="4873625" y="2919412"/>
            <a:ext cx="2038350" cy="400050"/>
          </a:xfrm>
          <a:prstGeom prst="rect">
            <a:avLst/>
          </a:prstGeom>
          <a:ln/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lvl1pPr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2000" b="1" dirty="0"/>
              <a:t>Decomposition</a:t>
            </a:r>
            <a:endParaRPr lang="en-IN" altLang="en-US" sz="2000" b="1" dirty="0"/>
          </a:p>
        </p:txBody>
      </p:sp>
      <p:sp>
        <p:nvSpPr>
          <p:cNvPr id="33798" name="TextBox 5"/>
          <p:cNvSpPr txBox="1">
            <a:spLocks noChangeArrowheads="1"/>
          </p:cNvSpPr>
          <p:nvPr/>
        </p:nvSpPr>
        <p:spPr bwMode="auto">
          <a:xfrm>
            <a:off x="6873875" y="3805237"/>
            <a:ext cx="798513" cy="400050"/>
          </a:xfrm>
          <a:prstGeom prst="rect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lvl1pPr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2000" b="1" dirty="0"/>
              <a:t>Uses</a:t>
            </a:r>
            <a:endParaRPr lang="en-IN" altLang="en-US" sz="2000" b="1" dirty="0"/>
          </a:p>
        </p:txBody>
      </p:sp>
      <p:sp>
        <p:nvSpPr>
          <p:cNvPr id="33799" name="TextBox 6"/>
          <p:cNvSpPr txBox="1">
            <a:spLocks noChangeArrowheads="1"/>
          </p:cNvSpPr>
          <p:nvPr/>
        </p:nvSpPr>
        <p:spPr bwMode="auto">
          <a:xfrm>
            <a:off x="6762750" y="4705350"/>
            <a:ext cx="1168400" cy="400050"/>
          </a:xfrm>
          <a:prstGeom prst="rect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lvl1pPr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2000" b="1" dirty="0"/>
              <a:t>Layered</a:t>
            </a:r>
            <a:endParaRPr lang="en-IN" altLang="en-US" sz="2000" b="1" dirty="0"/>
          </a:p>
        </p:txBody>
      </p:sp>
      <p:sp>
        <p:nvSpPr>
          <p:cNvPr id="33800" name="TextBox 7"/>
          <p:cNvSpPr txBox="1">
            <a:spLocks noChangeArrowheads="1"/>
          </p:cNvSpPr>
          <p:nvPr/>
        </p:nvSpPr>
        <p:spPr bwMode="auto">
          <a:xfrm>
            <a:off x="8047038" y="3348037"/>
            <a:ext cx="868362" cy="400050"/>
          </a:xfrm>
          <a:prstGeom prst="rect">
            <a:avLst/>
          </a:prstGeom>
          <a:ln/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lvl1pPr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2000" b="1" dirty="0"/>
              <a:t>Class</a:t>
            </a:r>
            <a:endParaRPr lang="en-IN" altLang="en-US" sz="2000" b="1" dirty="0"/>
          </a:p>
        </p:txBody>
      </p:sp>
      <p:cxnSp>
        <p:nvCxnSpPr>
          <p:cNvPr id="10" name="Straight Arrow Connector 9"/>
          <p:cNvCxnSpPr>
            <a:stCxn id="33796" idx="2"/>
            <a:endCxn id="33797" idx="0"/>
          </p:cNvCxnSpPr>
          <p:nvPr/>
        </p:nvCxnSpPr>
        <p:spPr>
          <a:xfrm rot="5400000">
            <a:off x="6233319" y="1907381"/>
            <a:ext cx="671512" cy="1352550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33796" idx="2"/>
            <a:endCxn id="33798" idx="0"/>
          </p:cNvCxnSpPr>
          <p:nvPr/>
        </p:nvCxnSpPr>
        <p:spPr>
          <a:xfrm rot="16200000" flipH="1">
            <a:off x="6480969" y="3012281"/>
            <a:ext cx="1557337" cy="28575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endCxn id="33799" idx="0"/>
          </p:cNvCxnSpPr>
          <p:nvPr/>
        </p:nvCxnSpPr>
        <p:spPr>
          <a:xfrm rot="16200000" flipH="1">
            <a:off x="7074693" y="4433094"/>
            <a:ext cx="500063" cy="44450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33796" idx="2"/>
            <a:endCxn id="33800" idx="0"/>
          </p:cNvCxnSpPr>
          <p:nvPr/>
        </p:nvCxnSpPr>
        <p:spPr>
          <a:xfrm rot="16200000" flipH="1">
            <a:off x="7313613" y="2179637"/>
            <a:ext cx="1100137" cy="1236663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1041B3F-108A-40D6-8684-CD4C3A19D4BE}" type="datetime1">
              <a:rPr lang="en-US" smtClean="0"/>
              <a:t>4/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980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2813" eaLnBrk="1" hangingPunct="1"/>
            <a:r>
              <a:rPr lang="en-US" altLang="en-US" smtClean="0"/>
              <a:t>Component and Connectors</a:t>
            </a:r>
            <a:endParaRPr lang="en-IN" altLang="en-US" smtClean="0"/>
          </a:p>
        </p:txBody>
      </p:sp>
      <p:sp>
        <p:nvSpPr>
          <p:cNvPr id="34819" name="Content Placeholder 2"/>
          <p:cNvSpPr>
            <a:spLocks noGrp="1"/>
          </p:cNvSpPr>
          <p:nvPr>
            <p:ph idx="1"/>
          </p:nvPr>
        </p:nvSpPr>
        <p:spPr>
          <a:xfrm>
            <a:off x="304800" y="2971800"/>
            <a:ext cx="8305800" cy="3429000"/>
          </a:xfrm>
        </p:spPr>
        <p:txBody>
          <a:bodyPr/>
          <a:lstStyle/>
          <a:p>
            <a:pPr defTabSz="912813" eaLnBrk="1" hangingPunct="1"/>
            <a:r>
              <a:rPr lang="en-US" altLang="en-US" sz="2000" dirty="0"/>
              <a:t>Client-Server</a:t>
            </a:r>
          </a:p>
          <a:p>
            <a:pPr lvl="1" defTabSz="912813" eaLnBrk="1" hangingPunct="1"/>
            <a:r>
              <a:rPr lang="en-US" altLang="en-US" sz="1800" dirty="0"/>
              <a:t>Components are clients and servers and connectors are how they interact</a:t>
            </a:r>
            <a:endParaRPr lang="en-IN" altLang="en-US" sz="1800" dirty="0"/>
          </a:p>
          <a:p>
            <a:pPr defTabSz="912813" eaLnBrk="1" hangingPunct="1"/>
            <a:r>
              <a:rPr lang="en-US" altLang="en-US" sz="2000" dirty="0"/>
              <a:t>Concurrency</a:t>
            </a:r>
          </a:p>
          <a:p>
            <a:pPr lvl="1" defTabSz="912813" eaLnBrk="1" hangingPunct="1"/>
            <a:r>
              <a:rPr lang="en-US" altLang="en-US" sz="1800" dirty="0"/>
              <a:t>Opportunities of parallelism, where connectors are logical thread of execution dependency</a:t>
            </a:r>
          </a:p>
          <a:p>
            <a:pPr defTabSz="912813" eaLnBrk="1" hangingPunct="1"/>
            <a:r>
              <a:rPr lang="en-US" altLang="en-US" sz="2000" dirty="0" smtClean="0"/>
              <a:t>Process, or communicating processes</a:t>
            </a:r>
          </a:p>
          <a:p>
            <a:pPr lvl="1" defTabSz="912813" eaLnBrk="1" hangingPunct="1"/>
            <a:r>
              <a:rPr lang="en-US" altLang="en-US" sz="1800" dirty="0" smtClean="0"/>
              <a:t>Components that are processes and connectors are how they communicate</a:t>
            </a:r>
          </a:p>
          <a:p>
            <a:pPr defTabSz="912813" eaLnBrk="1" hangingPunct="1"/>
            <a:r>
              <a:rPr lang="en-US" altLang="en-US" sz="2000" dirty="0" smtClean="0"/>
              <a:t>Shared data, or repository</a:t>
            </a:r>
          </a:p>
          <a:p>
            <a:pPr lvl="1" defTabSz="912813" eaLnBrk="1" hangingPunct="1"/>
            <a:r>
              <a:rPr lang="en-US" altLang="en-US" sz="1800" dirty="0" smtClean="0"/>
              <a:t>Components have data store, and connectors describe how data is created, stored, retrieved</a:t>
            </a:r>
          </a:p>
        </p:txBody>
      </p:sp>
      <p:grpSp>
        <p:nvGrpSpPr>
          <p:cNvPr id="34827" name="Group 34826"/>
          <p:cNvGrpSpPr/>
          <p:nvPr/>
        </p:nvGrpSpPr>
        <p:grpSpPr>
          <a:xfrm>
            <a:off x="858044" y="1447800"/>
            <a:ext cx="7062788" cy="1398813"/>
            <a:chOff x="1524000" y="3100388"/>
            <a:chExt cx="7062788" cy="1398813"/>
          </a:xfrm>
        </p:grpSpPr>
        <p:sp>
          <p:nvSpPr>
            <p:cNvPr id="34820" name="TextBox 3"/>
            <p:cNvSpPr txBox="1">
              <a:spLocks noChangeArrowheads="1"/>
            </p:cNvSpPr>
            <p:nvPr/>
          </p:nvSpPr>
          <p:spPr bwMode="auto">
            <a:xfrm>
              <a:off x="3733800" y="3100388"/>
              <a:ext cx="3657599" cy="400110"/>
            </a:xfrm>
            <a:prstGeom prst="rect">
              <a:avLst/>
            </a:prstGeom>
            <a:ln/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en-US" sz="2000" b="1" dirty="0" smtClean="0"/>
                <a:t>Components-and-connector</a:t>
              </a:r>
              <a:endParaRPr lang="en-IN" altLang="en-US" sz="2000" b="1" dirty="0"/>
            </a:p>
          </p:txBody>
        </p:sp>
        <p:sp>
          <p:nvSpPr>
            <p:cNvPr id="34821" name="TextBox 4"/>
            <p:cNvSpPr txBox="1">
              <a:spLocks noChangeArrowheads="1"/>
            </p:cNvSpPr>
            <p:nvPr/>
          </p:nvSpPr>
          <p:spPr bwMode="auto">
            <a:xfrm>
              <a:off x="1524000" y="4079111"/>
              <a:ext cx="1779588" cy="400050"/>
            </a:xfrm>
            <a:prstGeom prst="rect">
              <a:avLst/>
            </a:prstGeom>
            <a:ln/>
            <a:ex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en-US" sz="2000" b="1" dirty="0"/>
                <a:t>Client-Server</a:t>
              </a:r>
              <a:endParaRPr lang="en-IN" altLang="en-US" sz="2000" b="1" dirty="0"/>
            </a:p>
          </p:txBody>
        </p:sp>
        <p:sp>
          <p:nvSpPr>
            <p:cNvPr id="34822" name="TextBox 5"/>
            <p:cNvSpPr txBox="1">
              <a:spLocks noChangeArrowheads="1"/>
            </p:cNvSpPr>
            <p:nvPr/>
          </p:nvSpPr>
          <p:spPr bwMode="auto">
            <a:xfrm>
              <a:off x="3505200" y="4069462"/>
              <a:ext cx="1768475" cy="400050"/>
            </a:xfrm>
            <a:prstGeom prst="rect">
              <a:avLst/>
            </a:prstGeom>
            <a:ln/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en-US" sz="2000" b="1" dirty="0"/>
                <a:t>Concurrency</a:t>
              </a:r>
              <a:endParaRPr lang="en-IN" altLang="en-US" sz="2000" b="1" dirty="0"/>
            </a:p>
          </p:txBody>
        </p:sp>
        <p:sp>
          <p:nvSpPr>
            <p:cNvPr id="34823" name="TextBox 6"/>
            <p:cNvSpPr txBox="1">
              <a:spLocks noChangeArrowheads="1"/>
            </p:cNvSpPr>
            <p:nvPr/>
          </p:nvSpPr>
          <p:spPr bwMode="auto">
            <a:xfrm>
              <a:off x="6934200" y="4099151"/>
              <a:ext cx="1652588" cy="400050"/>
            </a:xfrm>
            <a:prstGeom prst="rect">
              <a:avLst/>
            </a:prstGeom>
            <a:ln/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en-US" sz="2000" b="1" dirty="0"/>
                <a:t>Shared data</a:t>
              </a:r>
              <a:endParaRPr lang="en-IN" altLang="en-US" sz="2000" b="1" dirty="0"/>
            </a:p>
          </p:txBody>
        </p:sp>
        <p:sp>
          <p:nvSpPr>
            <p:cNvPr id="34824" name="TextBox 7"/>
            <p:cNvSpPr txBox="1">
              <a:spLocks noChangeArrowheads="1"/>
            </p:cNvSpPr>
            <p:nvPr/>
          </p:nvSpPr>
          <p:spPr bwMode="auto">
            <a:xfrm>
              <a:off x="5478860" y="4079111"/>
              <a:ext cx="1182687" cy="400050"/>
            </a:xfrm>
            <a:prstGeom prst="rect">
              <a:avLst/>
            </a:prstGeom>
            <a:ln/>
            <a:ex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en-US" sz="2000" b="1" dirty="0"/>
                <a:t>Process</a:t>
              </a:r>
              <a:endParaRPr lang="en-IN" altLang="en-US" sz="2000" b="1" dirty="0"/>
            </a:p>
          </p:txBody>
        </p:sp>
        <p:cxnSp>
          <p:nvCxnSpPr>
            <p:cNvPr id="9" name="Straight Arrow Connector 8"/>
            <p:cNvCxnSpPr>
              <a:stCxn id="34820" idx="2"/>
              <a:endCxn id="34821" idx="0"/>
            </p:cNvCxnSpPr>
            <p:nvPr/>
          </p:nvCxnSpPr>
          <p:spPr>
            <a:xfrm flipH="1">
              <a:off x="2413794" y="3500498"/>
              <a:ext cx="3148806" cy="578613"/>
            </a:xfrm>
            <a:prstGeom prst="straightConnector1">
              <a:avLst/>
            </a:prstGeom>
            <a:ln w="15875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>
              <a:stCxn id="34820" idx="2"/>
              <a:endCxn id="34822" idx="0"/>
            </p:cNvCxnSpPr>
            <p:nvPr/>
          </p:nvCxnSpPr>
          <p:spPr>
            <a:xfrm flipH="1">
              <a:off x="4389438" y="3500498"/>
              <a:ext cx="1173162" cy="568964"/>
            </a:xfrm>
            <a:prstGeom prst="straightConnector1">
              <a:avLst/>
            </a:prstGeom>
            <a:ln w="15875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>
              <a:stCxn id="34820" idx="2"/>
              <a:endCxn id="34823" idx="0"/>
            </p:cNvCxnSpPr>
            <p:nvPr/>
          </p:nvCxnSpPr>
          <p:spPr>
            <a:xfrm>
              <a:off x="5562600" y="3500498"/>
              <a:ext cx="2197894" cy="598653"/>
            </a:xfrm>
            <a:prstGeom prst="straightConnector1">
              <a:avLst/>
            </a:prstGeom>
            <a:ln w="15875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Arrow Connector 11"/>
            <p:cNvCxnSpPr>
              <a:stCxn id="34820" idx="2"/>
              <a:endCxn id="34824" idx="0"/>
            </p:cNvCxnSpPr>
            <p:nvPr/>
          </p:nvCxnSpPr>
          <p:spPr>
            <a:xfrm>
              <a:off x="5562600" y="3500498"/>
              <a:ext cx="507604" cy="578613"/>
            </a:xfrm>
            <a:prstGeom prst="straightConnector1">
              <a:avLst/>
            </a:prstGeom>
            <a:ln w="15875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4828" name="Date Placeholder 348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4DDEE76-0EE3-4C50-B0F1-D133DCD77C26}" type="datetime1">
              <a:rPr lang="en-US" smtClean="0"/>
              <a:t>4/5/2015</a:t>
            </a:fld>
            <a:endParaRPr lang="en-US"/>
          </a:p>
        </p:txBody>
      </p:sp>
      <p:sp>
        <p:nvSpPr>
          <p:cNvPr id="34829" name="Footer Placeholder 3482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34830" name="Slide Number Placeholder 3482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91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2813" eaLnBrk="1" hangingPunct="1"/>
            <a:r>
              <a:rPr lang="en-US" altLang="en-US" dirty="0" smtClean="0"/>
              <a:t>Allocation Structure</a:t>
            </a:r>
            <a:endParaRPr lang="en-IN" altLang="en-US" dirty="0" smtClean="0"/>
          </a:p>
        </p:txBody>
      </p:sp>
      <p:sp>
        <p:nvSpPr>
          <p:cNvPr id="35843" name="Content Placeholder 2"/>
          <p:cNvSpPr>
            <a:spLocks noGrp="1"/>
          </p:cNvSpPr>
          <p:nvPr>
            <p:ph idx="1"/>
          </p:nvPr>
        </p:nvSpPr>
        <p:spPr>
          <a:xfrm>
            <a:off x="228600" y="2819400"/>
            <a:ext cx="8686800" cy="3352800"/>
          </a:xfrm>
        </p:spPr>
        <p:txBody>
          <a:bodyPr/>
          <a:lstStyle/>
          <a:p>
            <a:pPr algn="just" defTabSz="912813" eaLnBrk="1" hangingPunct="1"/>
            <a:r>
              <a:rPr lang="en-US" altLang="en-US" sz="2400" dirty="0" smtClean="0"/>
              <a:t>Deployment</a:t>
            </a:r>
          </a:p>
          <a:p>
            <a:pPr lvl="1" algn="just" defTabSz="912813" eaLnBrk="1" hangingPunct="1"/>
            <a:r>
              <a:rPr lang="en-US" altLang="en-US" sz="2000" dirty="0" smtClean="0"/>
              <a:t>Units are software (processes from component-connector) and hardware processors</a:t>
            </a:r>
          </a:p>
          <a:p>
            <a:pPr lvl="1" algn="just" defTabSz="912813" eaLnBrk="1" hangingPunct="1"/>
            <a:r>
              <a:rPr lang="en-US" altLang="en-US" sz="2000" dirty="0" smtClean="0"/>
              <a:t>Relation means how a software is allocated or migrated to a hardware</a:t>
            </a:r>
          </a:p>
          <a:p>
            <a:pPr algn="just" defTabSz="912813" eaLnBrk="1" hangingPunct="1"/>
            <a:r>
              <a:rPr lang="en-US" altLang="en-US" sz="2400" dirty="0" smtClean="0"/>
              <a:t>Implementation </a:t>
            </a:r>
          </a:p>
          <a:p>
            <a:pPr lvl="1" algn="just" defTabSz="912813" eaLnBrk="1" hangingPunct="1"/>
            <a:r>
              <a:rPr lang="en-US" altLang="en-US" sz="2000" dirty="0" smtClean="0"/>
              <a:t>Units are modules (from module view) and connectors denote how they are mapped to files, folders</a:t>
            </a:r>
          </a:p>
          <a:p>
            <a:pPr algn="just" defTabSz="912813" eaLnBrk="1" hangingPunct="1"/>
            <a:r>
              <a:rPr lang="en-US" altLang="en-US" sz="2400" dirty="0" smtClean="0"/>
              <a:t>Work assignment </a:t>
            </a:r>
          </a:p>
          <a:p>
            <a:pPr lvl="1" algn="just" defTabSz="912813" eaLnBrk="1" hangingPunct="1"/>
            <a:r>
              <a:rPr lang="en-US" altLang="en-US" sz="2000" dirty="0" smtClean="0"/>
              <a:t>Assigns responsibility for implementing and integrating the modules to people or team</a:t>
            </a:r>
            <a:endParaRPr lang="en-IN" altLang="en-US" sz="2000" dirty="0" smtClean="0"/>
          </a:p>
        </p:txBody>
      </p:sp>
      <p:grpSp>
        <p:nvGrpSpPr>
          <p:cNvPr id="5" name="Group 4"/>
          <p:cNvGrpSpPr/>
          <p:nvPr/>
        </p:nvGrpSpPr>
        <p:grpSpPr>
          <a:xfrm>
            <a:off x="1066800" y="1371600"/>
            <a:ext cx="7085806" cy="1325892"/>
            <a:chOff x="1981200" y="3967163"/>
            <a:chExt cx="7085806" cy="1325892"/>
          </a:xfrm>
        </p:grpSpPr>
        <p:sp>
          <p:nvSpPr>
            <p:cNvPr id="35844" name="TextBox 3"/>
            <p:cNvSpPr txBox="1">
              <a:spLocks noChangeArrowheads="1"/>
            </p:cNvSpPr>
            <p:nvPr/>
          </p:nvSpPr>
          <p:spPr bwMode="auto">
            <a:xfrm>
              <a:off x="4899025" y="3967163"/>
              <a:ext cx="1493838" cy="400050"/>
            </a:xfrm>
            <a:prstGeom prst="rect">
              <a:avLst/>
            </a:prstGeom>
            <a:ln/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en-US" sz="2000" b="1" dirty="0"/>
                <a:t>Allocation </a:t>
              </a:r>
              <a:endParaRPr lang="en-IN" altLang="en-US" sz="2000" b="1" dirty="0"/>
            </a:p>
          </p:txBody>
        </p:sp>
        <p:sp>
          <p:nvSpPr>
            <p:cNvPr id="35845" name="TextBox 4"/>
            <p:cNvSpPr txBox="1">
              <a:spLocks noChangeArrowheads="1"/>
            </p:cNvSpPr>
            <p:nvPr/>
          </p:nvSpPr>
          <p:spPr bwMode="auto">
            <a:xfrm>
              <a:off x="1981200" y="4862327"/>
              <a:ext cx="1652588" cy="400050"/>
            </a:xfrm>
            <a:prstGeom prst="rect">
              <a:avLst/>
            </a:prstGeom>
            <a:ln/>
            <a:ex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en-US" sz="2000" b="1" dirty="0"/>
                <a:t>Deployment</a:t>
              </a:r>
              <a:endParaRPr lang="en-IN" altLang="en-US" sz="2000" b="1" dirty="0"/>
            </a:p>
          </p:txBody>
        </p:sp>
        <p:sp>
          <p:nvSpPr>
            <p:cNvPr id="35846" name="TextBox 5"/>
            <p:cNvSpPr txBox="1">
              <a:spLocks noChangeArrowheads="1"/>
            </p:cNvSpPr>
            <p:nvPr/>
          </p:nvSpPr>
          <p:spPr bwMode="auto">
            <a:xfrm>
              <a:off x="4038600" y="4893005"/>
              <a:ext cx="2078038" cy="400050"/>
            </a:xfrm>
            <a:prstGeom prst="rect">
              <a:avLst/>
            </a:prstGeom>
            <a:ln/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en-US" sz="2000" b="1" dirty="0"/>
                <a:t>Implementation</a:t>
              </a:r>
              <a:endParaRPr lang="en-IN" altLang="en-US" sz="2000" b="1" dirty="0"/>
            </a:p>
          </p:txBody>
        </p:sp>
        <p:sp>
          <p:nvSpPr>
            <p:cNvPr id="35847" name="TextBox 7"/>
            <p:cNvSpPr txBox="1">
              <a:spLocks noChangeArrowheads="1"/>
            </p:cNvSpPr>
            <p:nvPr/>
          </p:nvSpPr>
          <p:spPr bwMode="auto">
            <a:xfrm>
              <a:off x="6750844" y="4893005"/>
              <a:ext cx="2316162" cy="400050"/>
            </a:xfrm>
            <a:prstGeom prst="rect">
              <a:avLst/>
            </a:prstGeom>
            <a:ln/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en-US" sz="2000" b="1" dirty="0"/>
                <a:t>Work assignment</a:t>
              </a:r>
              <a:endParaRPr lang="en-IN" altLang="en-US" sz="2000" b="1" dirty="0"/>
            </a:p>
          </p:txBody>
        </p:sp>
        <p:cxnSp>
          <p:nvCxnSpPr>
            <p:cNvPr id="9" name="Straight Arrow Connector 8"/>
            <p:cNvCxnSpPr>
              <a:stCxn id="35844" idx="2"/>
              <a:endCxn id="35845" idx="0"/>
            </p:cNvCxnSpPr>
            <p:nvPr/>
          </p:nvCxnSpPr>
          <p:spPr>
            <a:xfrm flipH="1">
              <a:off x="2807494" y="4367213"/>
              <a:ext cx="2838450" cy="495114"/>
            </a:xfrm>
            <a:prstGeom prst="straightConnector1">
              <a:avLst/>
            </a:prstGeom>
            <a:ln w="15875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>
              <a:stCxn id="35844" idx="2"/>
              <a:endCxn id="35846" idx="0"/>
            </p:cNvCxnSpPr>
            <p:nvPr/>
          </p:nvCxnSpPr>
          <p:spPr>
            <a:xfrm flipH="1">
              <a:off x="5077619" y="4367213"/>
              <a:ext cx="568325" cy="525792"/>
            </a:xfrm>
            <a:prstGeom prst="straightConnector1">
              <a:avLst/>
            </a:prstGeom>
            <a:ln w="15875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Arrow Connector 11"/>
            <p:cNvCxnSpPr>
              <a:stCxn id="35844" idx="2"/>
              <a:endCxn id="35847" idx="0"/>
            </p:cNvCxnSpPr>
            <p:nvPr/>
          </p:nvCxnSpPr>
          <p:spPr>
            <a:xfrm>
              <a:off x="5645944" y="4367213"/>
              <a:ext cx="2262981" cy="525792"/>
            </a:xfrm>
            <a:prstGeom prst="straightConnector1">
              <a:avLst/>
            </a:prstGeom>
            <a:ln w="15875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D51D58-A71E-4706-A19B-AD415200DC8E}" type="datetime1">
              <a:rPr lang="en-US" smtClean="0"/>
              <a:t>4/5/2015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689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555</TotalTime>
  <Words>3296</Words>
  <Application>Microsoft Office PowerPoint</Application>
  <PresentationFormat>On-screen Show (4:3)</PresentationFormat>
  <Paragraphs>695</Paragraphs>
  <Slides>4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7" baseType="lpstr">
      <vt:lpstr>Arial Unicode MS</vt:lpstr>
      <vt:lpstr>Arial</vt:lpstr>
      <vt:lpstr>Calibri</vt:lpstr>
      <vt:lpstr>Cambria Math</vt:lpstr>
      <vt:lpstr>Times New Roman</vt:lpstr>
      <vt:lpstr>Wingdings</vt:lpstr>
      <vt:lpstr>Office Theme</vt:lpstr>
      <vt:lpstr>think-cell Slide</vt:lpstr>
      <vt:lpstr>SS ZG653: Software Architecture Lecture 9: Review Session</vt:lpstr>
      <vt:lpstr>Review  Intro to SW Architecture</vt:lpstr>
      <vt:lpstr>Software Architecture Definition</vt:lpstr>
      <vt:lpstr>Architecture Styles</vt:lpstr>
      <vt:lpstr>Views and Architectural Structure</vt:lpstr>
      <vt:lpstr>Benefits of Software Architecture</vt:lpstr>
      <vt:lpstr>Modular Structures</vt:lpstr>
      <vt:lpstr>Component and Connectors</vt:lpstr>
      <vt:lpstr>Allocation Structure</vt:lpstr>
      <vt:lpstr>Three Quality Classes</vt:lpstr>
      <vt:lpstr>Architectural Tactics</vt:lpstr>
      <vt:lpstr>Review  Quality Attributes</vt:lpstr>
      <vt:lpstr>Availability</vt:lpstr>
      <vt:lpstr>Availability Tactics</vt:lpstr>
      <vt:lpstr>Modifiability</vt:lpstr>
      <vt:lpstr>Modifiability Tactics</vt:lpstr>
      <vt:lpstr>Localize Modifications</vt:lpstr>
      <vt:lpstr>Dependency between two modules (B A)</vt:lpstr>
      <vt:lpstr>Prevent Ripple Effect Tactics</vt:lpstr>
      <vt:lpstr>What is Performance?</vt:lpstr>
      <vt:lpstr>Performance Tactics</vt:lpstr>
      <vt:lpstr>Security</vt:lpstr>
      <vt:lpstr>Security Tactics</vt:lpstr>
      <vt:lpstr>Testability</vt:lpstr>
      <vt:lpstr>Testability Tactics</vt:lpstr>
      <vt:lpstr>Usability</vt:lpstr>
      <vt:lpstr>Usability Tactics</vt:lpstr>
      <vt:lpstr>Interoperability</vt:lpstr>
      <vt:lpstr>Tactics</vt:lpstr>
      <vt:lpstr>Review  OO Programming and Pattern</vt:lpstr>
      <vt:lpstr>Object and Class</vt:lpstr>
      <vt:lpstr>Module- aka namespace, package</vt:lpstr>
      <vt:lpstr>Inheritance</vt:lpstr>
      <vt:lpstr>Interface Definition</vt:lpstr>
      <vt:lpstr>Unified Modeling Language (Introduction)</vt:lpstr>
      <vt:lpstr>Use Case</vt:lpstr>
      <vt:lpstr>Class Notation</vt:lpstr>
      <vt:lpstr>Class Relationships</vt:lpstr>
      <vt:lpstr>Different forms of association</vt:lpstr>
      <vt:lpstr>Sequence Diagrams</vt:lpstr>
      <vt:lpstr>Class Responsibilities and Collaborators (CRC) Card</vt:lpstr>
      <vt:lpstr>Pattern – Three-part Schema</vt:lpstr>
      <vt:lpstr>Mud to Structure</vt:lpstr>
      <vt:lpstr>Layers – 3 part schema</vt:lpstr>
      <vt:lpstr>Layers</vt:lpstr>
      <vt:lpstr>Dynamics</vt:lpstr>
      <vt:lpstr>Dynamics</vt:lpstr>
      <vt:lpstr>Dynamics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hosh Kumar</cp:lastModifiedBy>
  <cp:revision>855</cp:revision>
  <dcterms:created xsi:type="dcterms:W3CDTF">2012-07-04T06:43:36Z</dcterms:created>
  <dcterms:modified xsi:type="dcterms:W3CDTF">2015-04-05T15:42:46Z</dcterms:modified>
</cp:coreProperties>
</file>